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diagrams/data3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4.xml" ContentType="application/vnd.openxmlformats-officedocument.drawingml.diagramData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5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diagrams/data6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diagrams/data7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diagrams/data8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diagrams/data2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2" r:id="rId1"/>
  </p:sldMasterIdLst>
  <p:notesMasterIdLst>
    <p:notesMasterId r:id="rId28"/>
  </p:notesMasterIdLst>
  <p:sldIdLst>
    <p:sldId id="256" r:id="rId2"/>
    <p:sldId id="257" r:id="rId3"/>
    <p:sldId id="371" r:id="rId4"/>
    <p:sldId id="263" r:id="rId5"/>
    <p:sldId id="373" r:id="rId6"/>
    <p:sldId id="398" r:id="rId7"/>
    <p:sldId id="374" r:id="rId8"/>
    <p:sldId id="375" r:id="rId9"/>
    <p:sldId id="397" r:id="rId10"/>
    <p:sldId id="389" r:id="rId11"/>
    <p:sldId id="391" r:id="rId12"/>
    <p:sldId id="379" r:id="rId13"/>
    <p:sldId id="396" r:id="rId14"/>
    <p:sldId id="376" r:id="rId15"/>
    <p:sldId id="380" r:id="rId16"/>
    <p:sldId id="399" r:id="rId17"/>
    <p:sldId id="382" r:id="rId18"/>
    <p:sldId id="383" r:id="rId19"/>
    <p:sldId id="377" r:id="rId20"/>
    <p:sldId id="384" r:id="rId21"/>
    <p:sldId id="390" r:id="rId22"/>
    <p:sldId id="378" r:id="rId23"/>
    <p:sldId id="392" r:id="rId24"/>
    <p:sldId id="394" r:id="rId25"/>
    <p:sldId id="395" r:id="rId26"/>
    <p:sldId id="385" r:id="rId27"/>
  </p:sldIdLst>
  <p:sldSz cx="12192000" cy="6858000"/>
  <p:notesSz cx="6858000" cy="9144000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C63"/>
    <a:srgbClr val="FB6573"/>
    <a:srgbClr val="FFE1E1"/>
    <a:srgbClr val="E2E9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078"/>
    <p:restoredTop sz="86401"/>
  </p:normalViewPr>
  <p:slideViewPr>
    <p:cSldViewPr snapToGrid="0" snapToObjects="1">
      <p:cViewPr varScale="1">
        <p:scale>
          <a:sx n="59" d="100"/>
          <a:sy n="59" d="100"/>
        </p:scale>
        <p:origin x="216" y="16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5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image" Target="../media/image240.pn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2D4908-E260-4048-B931-A3B62D2FD85E}" type="doc">
      <dgm:prSet loTypeId="urn:microsoft.com/office/officeart/2005/8/layout/equation2" loCatId="" qsTypeId="urn:microsoft.com/office/officeart/2005/8/quickstyle/simple1" qsCatId="simple" csTypeId="urn:microsoft.com/office/officeart/2005/8/colors/accent1_5" csCatId="accent1" phldr="1"/>
      <dgm:spPr/>
    </dgm:pt>
    <mc:AlternateContent xmlns:mc="http://schemas.openxmlformats.org/markup-compatibility/2006" xmlns:a14="http://schemas.microsoft.com/office/drawing/2010/main">
      <mc:Choice Requires="a14">
        <dgm:pt modelId="{4DEDD26E-A3EF-4A41-8AB7-7FD1FD5BD4B1}">
          <dgm:prSet phldrT="[Texte]"/>
          <dgm:spPr>
            <a:solidFill>
              <a:schemeClr val="accent1">
                <a:hueOff val="0"/>
                <a:satOff val="0"/>
                <a:lumOff val="0"/>
                <a:alpha val="50000"/>
              </a:schemeClr>
            </a:solidFill>
          </dgm:spPr>
          <dgm:t>
            <a:bodyPr/>
            <a:lstStyle/>
            <a:p>
              <a:r>
                <a:rPr lang="fr-FR" dirty="0" err="1">
                  <a:latin typeface="Arial" panose="020B0604020202020204" pitchFamily="34" charset="0"/>
                  <a:cs typeface="Arial" panose="020B0604020202020204" pitchFamily="34" charset="0"/>
                </a:rPr>
                <a:t>Currently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: estimation of </a:t>
              </a:r>
              <a14:m>
                <m:oMath xmlns:m="http://schemas.openxmlformats.org/officeDocument/2006/math">
                  <m:r>
                    <a:rPr lang="fr-FR" b="1" i="1" smtClean="0">
                      <a:latin typeface="Cambria Math" panose="02040503050406030204" pitchFamily="18" charset="0"/>
                    </a:rPr>
                    <m:t>𝑬</m:t>
                  </m:r>
                </m:oMath>
              </a14:m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14:m>
                <m:oMath xmlns:m="http://schemas.openxmlformats.org/officeDocument/2006/math">
                  <m:r>
                    <a:rPr lang="fr-FR" b="1" i="1" smtClean="0">
                      <a:latin typeface="Cambria Math" panose="02040503050406030204" pitchFamily="18" charset="0"/>
                    </a:rPr>
                    <m:t>𝑰</m:t>
                  </m:r>
                </m:oMath>
              </a14:m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dgm:t>
        </dgm:pt>
      </mc:Choice>
      <mc:Fallback xmlns="">
        <dgm:pt modelId="{4DEDD26E-A3EF-4A41-8AB7-7FD1FD5BD4B1}">
          <dgm:prSet phldrT="[Texte]"/>
          <dgm:spPr>
            <a:solidFill>
              <a:schemeClr val="accent1">
                <a:hueOff val="0"/>
                <a:satOff val="0"/>
                <a:lumOff val="0"/>
                <a:alpha val="50000"/>
              </a:schemeClr>
            </a:solidFill>
          </dgm:spPr>
          <dgm:t>
            <a:bodyPr/>
            <a:lstStyle/>
            <a:p>
              <a:r>
                <a:rPr lang="fr-FR" dirty="0" err="1">
                  <a:latin typeface="Arial" panose="020B0604020202020204" pitchFamily="34" charset="0"/>
                  <a:cs typeface="Arial" panose="020B0604020202020204" pitchFamily="34" charset="0"/>
                </a:rPr>
                <a:t>Currently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: estimation of </a:t>
              </a:r>
              <a:r>
                <a:rPr lang="fr-FR" b="1" i="0">
                  <a:latin typeface="Cambria Math" panose="02040503050406030204" pitchFamily="18" charset="0"/>
                </a:rPr>
                <a:t>𝑬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b="1" i="0">
                  <a:latin typeface="Cambria Math" panose="02040503050406030204" pitchFamily="18" charset="0"/>
                </a:rPr>
                <a:t>𝑰</a:t>
              </a:r>
              <a:r>
                <a:rPr lang="fr-FR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dgm:t>
        </dgm:pt>
      </mc:Fallback>
    </mc:AlternateContent>
    <dgm:pt modelId="{5F0716FA-0096-1B45-8327-2C6CCD85D2DF}" type="parTrans" cxnId="{97DE9CE3-FD86-BE49-8C53-FABE6EB3EF10}">
      <dgm:prSet/>
      <dgm:spPr/>
      <dgm:t>
        <a:bodyPr/>
        <a:lstStyle/>
        <a:p>
          <a:endParaRPr lang="fr-FR"/>
        </a:p>
      </dgm:t>
    </dgm:pt>
    <dgm:pt modelId="{EAD2F515-C37D-B847-B23C-8B4DC014EAF0}" type="sibTrans" cxnId="{97DE9CE3-FD86-BE49-8C53-FABE6EB3EF10}">
      <dgm:prSet/>
      <dgm:spPr/>
      <dgm:t>
        <a:bodyPr/>
        <a:lstStyle/>
        <a:p>
          <a:endParaRPr lang="fr-FR"/>
        </a:p>
      </dgm:t>
    </dgm:pt>
    <dgm:pt modelId="{0675314B-02D3-3F46-8012-D320FF148135}">
      <dgm:prSet phldrT="[Texte]"/>
      <dgm:spPr/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Statistical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method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53B353-D81F-4A47-8745-6418530D5DD6}" type="parTrans" cxnId="{3BBC16A5-24ED-A548-9C96-D2E2F05A8DE7}">
      <dgm:prSet/>
      <dgm:spPr/>
      <dgm:t>
        <a:bodyPr/>
        <a:lstStyle/>
        <a:p>
          <a:endParaRPr lang="fr-FR"/>
        </a:p>
      </dgm:t>
    </dgm:pt>
    <dgm:pt modelId="{F2D3B372-65A4-7248-9F85-E3F8E2BFA615}" type="sibTrans" cxnId="{3BBC16A5-24ED-A548-9C96-D2E2F05A8DE7}">
      <dgm:prSet/>
      <dgm:spPr/>
      <dgm:t>
        <a:bodyPr/>
        <a:lstStyle/>
        <a:p>
          <a:endParaRPr lang="fr-FR"/>
        </a:p>
      </dgm:t>
    </dgm:pt>
    <mc:AlternateContent xmlns:mc="http://schemas.openxmlformats.org/markup-compatibility/2006" xmlns:a14="http://schemas.microsoft.com/office/drawing/2010/main">
      <mc:Choice Requires="a14">
        <dgm:pt modelId="{43ED4AAF-7639-A242-8D41-6BA017F3452D}">
          <dgm:prSet phldrT="[Texte]" custT="1"/>
          <dgm:spPr>
            <a:solidFill>
              <a:schemeClr val="accent1">
                <a:hueOff val="0"/>
                <a:satOff val="0"/>
                <a:lumOff val="0"/>
                <a:alpha val="90000"/>
              </a:schemeClr>
            </a:solidFill>
          </dgm:spPr>
          <dgm:t>
            <a:bodyPr/>
            <a:lstStyle/>
            <a:p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Future: estimation of </a:t>
              </a:r>
              <a14:m>
                <m:oMath xmlns:m="http://schemas.openxmlformats.org/officeDocument/2006/math">
                  <m:r>
                    <a:rPr lang="fr-FR" sz="4000" b="1" i="1" smtClean="0">
                      <a:latin typeface="Cambria Math" panose="02040503050406030204" pitchFamily="18" charset="0"/>
                    </a:rPr>
                    <m:t>𝑬</m:t>
                  </m:r>
                </m:oMath>
              </a14:m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4000" dirty="0" err="1"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14:m>
                <m:oMath xmlns:m="http://schemas.openxmlformats.org/officeDocument/2006/math">
                  <m:r>
                    <a:rPr lang="fr-FR" sz="4000" b="1" i="1" smtClean="0">
                      <a:latin typeface="Cambria Math" panose="02040503050406030204" pitchFamily="18" charset="0"/>
                    </a:rPr>
                    <m:t>𝑬</m:t>
                  </m:r>
                </m:oMath>
              </a14:m>
              <a:endParaRPr lang="fr-FR" sz="4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dgm:t>
        </dgm:pt>
      </mc:Choice>
      <mc:Fallback xmlns="">
        <dgm:pt modelId="{43ED4AAF-7639-A242-8D41-6BA017F3452D}">
          <dgm:prSet phldrT="[Texte]" custT="1"/>
          <dgm:spPr>
            <a:solidFill>
              <a:schemeClr val="accent1">
                <a:hueOff val="0"/>
                <a:satOff val="0"/>
                <a:lumOff val="0"/>
                <a:alpha val="90000"/>
              </a:schemeClr>
            </a:solidFill>
          </dgm:spPr>
          <dgm:t>
            <a:bodyPr/>
            <a:lstStyle/>
            <a:p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Future: estimation of </a:t>
              </a:r>
              <a:r>
                <a:rPr lang="fr-FR" sz="4000" b="1" i="0">
                  <a:latin typeface="Cambria Math" panose="02040503050406030204" pitchFamily="18" charset="0"/>
                </a:rPr>
                <a:t>𝑬</a:t>
              </a:r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4000" dirty="0" err="1"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lang="fr-FR" sz="4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4000" b="1" i="0">
                  <a:latin typeface="Cambria Math" panose="02040503050406030204" pitchFamily="18" charset="0"/>
                </a:rPr>
                <a:t>𝑬</a:t>
              </a:r>
              <a:endParaRPr lang="fr-FR" sz="4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dgm:t>
        </dgm:pt>
      </mc:Fallback>
    </mc:AlternateContent>
    <dgm:pt modelId="{0AF5D16B-E244-F14B-87B0-7154F9CFD343}" type="parTrans" cxnId="{39202785-B4CC-534A-9531-D3467D5DB4CE}">
      <dgm:prSet/>
      <dgm:spPr/>
      <dgm:t>
        <a:bodyPr/>
        <a:lstStyle/>
        <a:p>
          <a:endParaRPr lang="fr-FR"/>
        </a:p>
      </dgm:t>
    </dgm:pt>
    <dgm:pt modelId="{4049D5A2-15D7-DF47-8396-5CFF8BB0D4FA}" type="sibTrans" cxnId="{39202785-B4CC-534A-9531-D3467D5DB4CE}">
      <dgm:prSet/>
      <dgm:spPr/>
      <dgm:t>
        <a:bodyPr/>
        <a:lstStyle/>
        <a:p>
          <a:endParaRPr lang="fr-FR"/>
        </a:p>
      </dgm:t>
    </dgm:pt>
    <dgm:pt modelId="{DD218484-9B4F-BE49-8B04-126DF856EA1E}" type="pres">
      <dgm:prSet presAssocID="{4A2D4908-E260-4048-B931-A3B62D2FD85E}" presName="Name0" presStyleCnt="0">
        <dgm:presLayoutVars>
          <dgm:dir/>
          <dgm:resizeHandles val="exact"/>
        </dgm:presLayoutVars>
      </dgm:prSet>
      <dgm:spPr/>
    </dgm:pt>
    <dgm:pt modelId="{4787F79D-E021-744E-BE98-6C15D488DE16}" type="pres">
      <dgm:prSet presAssocID="{4A2D4908-E260-4048-B931-A3B62D2FD85E}" presName="vNodes" presStyleCnt="0"/>
      <dgm:spPr/>
    </dgm:pt>
    <dgm:pt modelId="{0E667E3A-8807-1A4C-8376-271378FC6260}" type="pres">
      <dgm:prSet presAssocID="{4DEDD26E-A3EF-4A41-8AB7-7FD1FD5BD4B1}" presName="node" presStyleLbl="node1" presStyleIdx="0" presStyleCnt="3">
        <dgm:presLayoutVars>
          <dgm:bulletEnabled val="1"/>
        </dgm:presLayoutVars>
      </dgm:prSet>
      <dgm:spPr/>
    </dgm:pt>
    <dgm:pt modelId="{05BD4F37-406B-924F-9372-DF73CDB9B73B}" type="pres">
      <dgm:prSet presAssocID="{EAD2F515-C37D-B847-B23C-8B4DC014EAF0}" presName="spacerT" presStyleCnt="0"/>
      <dgm:spPr/>
    </dgm:pt>
    <dgm:pt modelId="{B3CBBF77-035F-6A46-AD2D-E8B54C789E8A}" type="pres">
      <dgm:prSet presAssocID="{EAD2F515-C37D-B847-B23C-8B4DC014EAF0}" presName="sibTrans" presStyleLbl="sibTrans2D1" presStyleIdx="0" presStyleCnt="2"/>
      <dgm:spPr/>
    </dgm:pt>
    <dgm:pt modelId="{557E0947-07B8-9740-9E52-C1F46CB6DDA5}" type="pres">
      <dgm:prSet presAssocID="{EAD2F515-C37D-B847-B23C-8B4DC014EAF0}" presName="spacerB" presStyleCnt="0"/>
      <dgm:spPr/>
    </dgm:pt>
    <dgm:pt modelId="{1B53E50B-6D8C-4A4E-B375-7016DBE7469A}" type="pres">
      <dgm:prSet presAssocID="{0675314B-02D3-3F46-8012-D320FF148135}" presName="node" presStyleLbl="node1" presStyleIdx="1" presStyleCnt="3">
        <dgm:presLayoutVars>
          <dgm:bulletEnabled val="1"/>
        </dgm:presLayoutVars>
      </dgm:prSet>
      <dgm:spPr/>
    </dgm:pt>
    <dgm:pt modelId="{7BBC3549-C1EE-134D-B733-0CC64996D41D}" type="pres">
      <dgm:prSet presAssocID="{4A2D4908-E260-4048-B931-A3B62D2FD85E}" presName="sibTransLast" presStyleLbl="sibTrans2D1" presStyleIdx="1" presStyleCnt="2"/>
      <dgm:spPr/>
    </dgm:pt>
    <dgm:pt modelId="{9E5F0A70-A17C-3243-AC65-718D11C1C2D1}" type="pres">
      <dgm:prSet presAssocID="{4A2D4908-E260-4048-B931-A3B62D2FD85E}" presName="connectorText" presStyleLbl="sibTrans2D1" presStyleIdx="1" presStyleCnt="2"/>
      <dgm:spPr/>
    </dgm:pt>
    <dgm:pt modelId="{DB3B3B5D-31A2-2046-B27A-F4BFF855A5A8}" type="pres">
      <dgm:prSet presAssocID="{4A2D4908-E260-4048-B931-A3B62D2FD85E}" presName="lastNode" presStyleLbl="node1" presStyleIdx="2" presStyleCnt="3">
        <dgm:presLayoutVars>
          <dgm:bulletEnabled val="1"/>
        </dgm:presLayoutVars>
      </dgm:prSet>
      <dgm:spPr/>
    </dgm:pt>
  </dgm:ptLst>
  <dgm:cxnLst>
    <dgm:cxn modelId="{AE56C41B-521F-084C-9ED0-D71EE901A561}" type="presOf" srcId="{F2D3B372-65A4-7248-9F85-E3F8E2BFA615}" destId="{7BBC3549-C1EE-134D-B733-0CC64996D41D}" srcOrd="0" destOrd="0" presId="urn:microsoft.com/office/officeart/2005/8/layout/equation2"/>
    <dgm:cxn modelId="{0727BE3F-30D9-8345-A324-F07D75DE6E65}" type="presOf" srcId="{43ED4AAF-7639-A242-8D41-6BA017F3452D}" destId="{DB3B3B5D-31A2-2046-B27A-F4BFF855A5A8}" srcOrd="0" destOrd="0" presId="urn:microsoft.com/office/officeart/2005/8/layout/equation2"/>
    <dgm:cxn modelId="{09A8CD5D-CF0B-1E41-A78C-284B3CB0B62D}" type="presOf" srcId="{0675314B-02D3-3F46-8012-D320FF148135}" destId="{1B53E50B-6D8C-4A4E-B375-7016DBE7469A}" srcOrd="0" destOrd="0" presId="urn:microsoft.com/office/officeart/2005/8/layout/equation2"/>
    <dgm:cxn modelId="{4FDFBC7B-B21D-AA45-B86C-C8DFB07991E1}" type="presOf" srcId="{4DEDD26E-A3EF-4A41-8AB7-7FD1FD5BD4B1}" destId="{0E667E3A-8807-1A4C-8376-271378FC6260}" srcOrd="0" destOrd="0" presId="urn:microsoft.com/office/officeart/2005/8/layout/equation2"/>
    <dgm:cxn modelId="{39202785-B4CC-534A-9531-D3467D5DB4CE}" srcId="{4A2D4908-E260-4048-B931-A3B62D2FD85E}" destId="{43ED4AAF-7639-A242-8D41-6BA017F3452D}" srcOrd="2" destOrd="0" parTransId="{0AF5D16B-E244-F14B-87B0-7154F9CFD343}" sibTransId="{4049D5A2-15D7-DF47-8396-5CFF8BB0D4FA}"/>
    <dgm:cxn modelId="{919F4B8E-948C-AA46-AEC5-C5CE1ACEA2CB}" type="presOf" srcId="{EAD2F515-C37D-B847-B23C-8B4DC014EAF0}" destId="{B3CBBF77-035F-6A46-AD2D-E8B54C789E8A}" srcOrd="0" destOrd="0" presId="urn:microsoft.com/office/officeart/2005/8/layout/equation2"/>
    <dgm:cxn modelId="{3BBC16A5-24ED-A548-9C96-D2E2F05A8DE7}" srcId="{4A2D4908-E260-4048-B931-A3B62D2FD85E}" destId="{0675314B-02D3-3F46-8012-D320FF148135}" srcOrd="1" destOrd="0" parTransId="{E653B353-D81F-4A47-8745-6418530D5DD6}" sibTransId="{F2D3B372-65A4-7248-9F85-E3F8E2BFA615}"/>
    <dgm:cxn modelId="{BC9C59CB-A689-5448-864A-42901235F9E7}" type="presOf" srcId="{F2D3B372-65A4-7248-9F85-E3F8E2BFA615}" destId="{9E5F0A70-A17C-3243-AC65-718D11C1C2D1}" srcOrd="1" destOrd="0" presId="urn:microsoft.com/office/officeart/2005/8/layout/equation2"/>
    <dgm:cxn modelId="{97DE9CE3-FD86-BE49-8C53-FABE6EB3EF10}" srcId="{4A2D4908-E260-4048-B931-A3B62D2FD85E}" destId="{4DEDD26E-A3EF-4A41-8AB7-7FD1FD5BD4B1}" srcOrd="0" destOrd="0" parTransId="{5F0716FA-0096-1B45-8327-2C6CCD85D2DF}" sibTransId="{EAD2F515-C37D-B847-B23C-8B4DC014EAF0}"/>
    <dgm:cxn modelId="{5A4AA1F6-3A17-2D48-B952-8A76EF9D650B}" type="presOf" srcId="{4A2D4908-E260-4048-B931-A3B62D2FD85E}" destId="{DD218484-9B4F-BE49-8B04-126DF856EA1E}" srcOrd="0" destOrd="0" presId="urn:microsoft.com/office/officeart/2005/8/layout/equation2"/>
    <dgm:cxn modelId="{979AC145-63C0-4E43-ABA8-5CD05D7F8A3F}" type="presParOf" srcId="{DD218484-9B4F-BE49-8B04-126DF856EA1E}" destId="{4787F79D-E021-744E-BE98-6C15D488DE16}" srcOrd="0" destOrd="0" presId="urn:microsoft.com/office/officeart/2005/8/layout/equation2"/>
    <dgm:cxn modelId="{863EEEF9-7396-0941-895D-2935018DBE87}" type="presParOf" srcId="{4787F79D-E021-744E-BE98-6C15D488DE16}" destId="{0E667E3A-8807-1A4C-8376-271378FC6260}" srcOrd="0" destOrd="0" presId="urn:microsoft.com/office/officeart/2005/8/layout/equation2"/>
    <dgm:cxn modelId="{EA408F36-06FD-5143-AF56-F4BBA8891BA6}" type="presParOf" srcId="{4787F79D-E021-744E-BE98-6C15D488DE16}" destId="{05BD4F37-406B-924F-9372-DF73CDB9B73B}" srcOrd="1" destOrd="0" presId="urn:microsoft.com/office/officeart/2005/8/layout/equation2"/>
    <dgm:cxn modelId="{9FADF8A9-B7DF-0E42-80E1-999D1D68C56B}" type="presParOf" srcId="{4787F79D-E021-744E-BE98-6C15D488DE16}" destId="{B3CBBF77-035F-6A46-AD2D-E8B54C789E8A}" srcOrd="2" destOrd="0" presId="urn:microsoft.com/office/officeart/2005/8/layout/equation2"/>
    <dgm:cxn modelId="{2344EE51-52E3-2346-ABFE-29F66D25B390}" type="presParOf" srcId="{4787F79D-E021-744E-BE98-6C15D488DE16}" destId="{557E0947-07B8-9740-9E52-C1F46CB6DDA5}" srcOrd="3" destOrd="0" presId="urn:microsoft.com/office/officeart/2005/8/layout/equation2"/>
    <dgm:cxn modelId="{83DD9C9E-72F1-F744-A55E-7F86DD5AF2C4}" type="presParOf" srcId="{4787F79D-E021-744E-BE98-6C15D488DE16}" destId="{1B53E50B-6D8C-4A4E-B375-7016DBE7469A}" srcOrd="4" destOrd="0" presId="urn:microsoft.com/office/officeart/2005/8/layout/equation2"/>
    <dgm:cxn modelId="{26AFE025-32A0-AF46-A839-DC04753D0D93}" type="presParOf" srcId="{DD218484-9B4F-BE49-8B04-126DF856EA1E}" destId="{7BBC3549-C1EE-134D-B733-0CC64996D41D}" srcOrd="1" destOrd="0" presId="urn:microsoft.com/office/officeart/2005/8/layout/equation2"/>
    <dgm:cxn modelId="{6BA5BBA2-6B7A-A842-9581-169161C43702}" type="presParOf" srcId="{7BBC3549-C1EE-134D-B733-0CC64996D41D}" destId="{9E5F0A70-A17C-3243-AC65-718D11C1C2D1}" srcOrd="0" destOrd="0" presId="urn:microsoft.com/office/officeart/2005/8/layout/equation2"/>
    <dgm:cxn modelId="{251FCEB5-7D61-5F4B-A831-EBA4867AE975}" type="presParOf" srcId="{DD218484-9B4F-BE49-8B04-126DF856EA1E}" destId="{DB3B3B5D-31A2-2046-B27A-F4BFF855A5A8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2D4908-E260-4048-B931-A3B62D2FD85E}" type="doc">
      <dgm:prSet loTypeId="urn:microsoft.com/office/officeart/2005/8/layout/equation2" loCatId="" qsTypeId="urn:microsoft.com/office/officeart/2005/8/quickstyle/simple1" qsCatId="simple" csTypeId="urn:microsoft.com/office/officeart/2005/8/colors/accent1_5" csCatId="accent1" phldr="1"/>
      <dgm:spPr/>
    </dgm:pt>
    <dgm:pt modelId="{4DEDD26E-A3EF-4A41-8AB7-7FD1FD5BD4B1}">
      <dgm:prSet phldrT="[Texte]"/>
      <dgm:spPr>
        <a:blipFill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fr-FR">
              <a:noFill/>
            </a:rPr>
            <a:t> </a:t>
          </a:r>
        </a:p>
      </dgm:t>
    </dgm:pt>
    <dgm:pt modelId="{5F0716FA-0096-1B45-8327-2C6CCD85D2DF}" type="parTrans" cxnId="{97DE9CE3-FD86-BE49-8C53-FABE6EB3EF10}">
      <dgm:prSet/>
      <dgm:spPr/>
      <dgm:t>
        <a:bodyPr/>
        <a:lstStyle/>
        <a:p>
          <a:endParaRPr lang="fr-FR"/>
        </a:p>
      </dgm:t>
    </dgm:pt>
    <dgm:pt modelId="{EAD2F515-C37D-B847-B23C-8B4DC014EAF0}" type="sibTrans" cxnId="{97DE9CE3-FD86-BE49-8C53-FABE6EB3EF10}">
      <dgm:prSet/>
      <dgm:spPr/>
      <dgm:t>
        <a:bodyPr/>
        <a:lstStyle/>
        <a:p>
          <a:endParaRPr lang="fr-FR"/>
        </a:p>
      </dgm:t>
    </dgm:pt>
    <dgm:pt modelId="{0675314B-02D3-3F46-8012-D320FF148135}">
      <dgm:prSet phldrT="[Texte]"/>
      <dgm:spPr/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Statistical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method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53B353-D81F-4A47-8745-6418530D5DD6}" type="parTrans" cxnId="{3BBC16A5-24ED-A548-9C96-D2E2F05A8DE7}">
      <dgm:prSet/>
      <dgm:spPr/>
      <dgm:t>
        <a:bodyPr/>
        <a:lstStyle/>
        <a:p>
          <a:endParaRPr lang="fr-FR"/>
        </a:p>
      </dgm:t>
    </dgm:pt>
    <dgm:pt modelId="{F2D3B372-65A4-7248-9F85-E3F8E2BFA615}" type="sibTrans" cxnId="{3BBC16A5-24ED-A548-9C96-D2E2F05A8DE7}">
      <dgm:prSet/>
      <dgm:spPr/>
      <dgm:t>
        <a:bodyPr/>
        <a:lstStyle/>
        <a:p>
          <a:endParaRPr lang="fr-FR"/>
        </a:p>
      </dgm:t>
    </dgm:pt>
    <dgm:pt modelId="{43ED4AAF-7639-A242-8D41-6BA017F3452D}">
      <dgm:prSet phldrT="[Texte]" custT="1"/>
      <dgm:spPr>
        <a:blipFill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fr-FR">
              <a:noFill/>
            </a:rPr>
            <a:t> </a:t>
          </a:r>
        </a:p>
      </dgm:t>
    </dgm:pt>
    <dgm:pt modelId="{0AF5D16B-E244-F14B-87B0-7154F9CFD343}" type="parTrans" cxnId="{39202785-B4CC-534A-9531-D3467D5DB4CE}">
      <dgm:prSet/>
      <dgm:spPr/>
      <dgm:t>
        <a:bodyPr/>
        <a:lstStyle/>
        <a:p>
          <a:endParaRPr lang="fr-FR"/>
        </a:p>
      </dgm:t>
    </dgm:pt>
    <dgm:pt modelId="{4049D5A2-15D7-DF47-8396-5CFF8BB0D4FA}" type="sibTrans" cxnId="{39202785-B4CC-534A-9531-D3467D5DB4CE}">
      <dgm:prSet/>
      <dgm:spPr/>
      <dgm:t>
        <a:bodyPr/>
        <a:lstStyle/>
        <a:p>
          <a:endParaRPr lang="fr-FR"/>
        </a:p>
      </dgm:t>
    </dgm:pt>
    <dgm:pt modelId="{DD218484-9B4F-BE49-8B04-126DF856EA1E}" type="pres">
      <dgm:prSet presAssocID="{4A2D4908-E260-4048-B931-A3B62D2FD85E}" presName="Name0" presStyleCnt="0">
        <dgm:presLayoutVars>
          <dgm:dir/>
          <dgm:resizeHandles val="exact"/>
        </dgm:presLayoutVars>
      </dgm:prSet>
      <dgm:spPr/>
    </dgm:pt>
    <dgm:pt modelId="{4787F79D-E021-744E-BE98-6C15D488DE16}" type="pres">
      <dgm:prSet presAssocID="{4A2D4908-E260-4048-B931-A3B62D2FD85E}" presName="vNodes" presStyleCnt="0"/>
      <dgm:spPr/>
    </dgm:pt>
    <dgm:pt modelId="{0E667E3A-8807-1A4C-8376-271378FC6260}" type="pres">
      <dgm:prSet presAssocID="{4DEDD26E-A3EF-4A41-8AB7-7FD1FD5BD4B1}" presName="node" presStyleLbl="node1" presStyleIdx="0" presStyleCnt="3">
        <dgm:presLayoutVars>
          <dgm:bulletEnabled val="1"/>
        </dgm:presLayoutVars>
      </dgm:prSet>
      <dgm:spPr/>
    </dgm:pt>
    <dgm:pt modelId="{05BD4F37-406B-924F-9372-DF73CDB9B73B}" type="pres">
      <dgm:prSet presAssocID="{EAD2F515-C37D-B847-B23C-8B4DC014EAF0}" presName="spacerT" presStyleCnt="0"/>
      <dgm:spPr/>
    </dgm:pt>
    <dgm:pt modelId="{B3CBBF77-035F-6A46-AD2D-E8B54C789E8A}" type="pres">
      <dgm:prSet presAssocID="{EAD2F515-C37D-B847-B23C-8B4DC014EAF0}" presName="sibTrans" presStyleLbl="sibTrans2D1" presStyleIdx="0" presStyleCnt="2"/>
      <dgm:spPr/>
    </dgm:pt>
    <dgm:pt modelId="{557E0947-07B8-9740-9E52-C1F46CB6DDA5}" type="pres">
      <dgm:prSet presAssocID="{EAD2F515-C37D-B847-B23C-8B4DC014EAF0}" presName="spacerB" presStyleCnt="0"/>
      <dgm:spPr/>
    </dgm:pt>
    <dgm:pt modelId="{1B53E50B-6D8C-4A4E-B375-7016DBE7469A}" type="pres">
      <dgm:prSet presAssocID="{0675314B-02D3-3F46-8012-D320FF148135}" presName="node" presStyleLbl="node1" presStyleIdx="1" presStyleCnt="3">
        <dgm:presLayoutVars>
          <dgm:bulletEnabled val="1"/>
        </dgm:presLayoutVars>
      </dgm:prSet>
      <dgm:spPr/>
    </dgm:pt>
    <dgm:pt modelId="{7BBC3549-C1EE-134D-B733-0CC64996D41D}" type="pres">
      <dgm:prSet presAssocID="{4A2D4908-E260-4048-B931-A3B62D2FD85E}" presName="sibTransLast" presStyleLbl="sibTrans2D1" presStyleIdx="1" presStyleCnt="2"/>
      <dgm:spPr/>
    </dgm:pt>
    <dgm:pt modelId="{9E5F0A70-A17C-3243-AC65-718D11C1C2D1}" type="pres">
      <dgm:prSet presAssocID="{4A2D4908-E260-4048-B931-A3B62D2FD85E}" presName="connectorText" presStyleLbl="sibTrans2D1" presStyleIdx="1" presStyleCnt="2"/>
      <dgm:spPr/>
    </dgm:pt>
    <dgm:pt modelId="{DB3B3B5D-31A2-2046-B27A-F4BFF855A5A8}" type="pres">
      <dgm:prSet presAssocID="{4A2D4908-E260-4048-B931-A3B62D2FD85E}" presName="lastNode" presStyleLbl="node1" presStyleIdx="2" presStyleCnt="3">
        <dgm:presLayoutVars>
          <dgm:bulletEnabled val="1"/>
        </dgm:presLayoutVars>
      </dgm:prSet>
      <dgm:spPr/>
    </dgm:pt>
  </dgm:ptLst>
  <dgm:cxnLst>
    <dgm:cxn modelId="{AE56C41B-521F-084C-9ED0-D71EE901A561}" type="presOf" srcId="{F2D3B372-65A4-7248-9F85-E3F8E2BFA615}" destId="{7BBC3549-C1EE-134D-B733-0CC64996D41D}" srcOrd="0" destOrd="0" presId="urn:microsoft.com/office/officeart/2005/8/layout/equation2"/>
    <dgm:cxn modelId="{0727BE3F-30D9-8345-A324-F07D75DE6E65}" type="presOf" srcId="{43ED4AAF-7639-A242-8D41-6BA017F3452D}" destId="{DB3B3B5D-31A2-2046-B27A-F4BFF855A5A8}" srcOrd="0" destOrd="0" presId="urn:microsoft.com/office/officeart/2005/8/layout/equation2"/>
    <dgm:cxn modelId="{09A8CD5D-CF0B-1E41-A78C-284B3CB0B62D}" type="presOf" srcId="{0675314B-02D3-3F46-8012-D320FF148135}" destId="{1B53E50B-6D8C-4A4E-B375-7016DBE7469A}" srcOrd="0" destOrd="0" presId="urn:microsoft.com/office/officeart/2005/8/layout/equation2"/>
    <dgm:cxn modelId="{4FDFBC7B-B21D-AA45-B86C-C8DFB07991E1}" type="presOf" srcId="{4DEDD26E-A3EF-4A41-8AB7-7FD1FD5BD4B1}" destId="{0E667E3A-8807-1A4C-8376-271378FC6260}" srcOrd="0" destOrd="0" presId="urn:microsoft.com/office/officeart/2005/8/layout/equation2"/>
    <dgm:cxn modelId="{39202785-B4CC-534A-9531-D3467D5DB4CE}" srcId="{4A2D4908-E260-4048-B931-A3B62D2FD85E}" destId="{43ED4AAF-7639-A242-8D41-6BA017F3452D}" srcOrd="2" destOrd="0" parTransId="{0AF5D16B-E244-F14B-87B0-7154F9CFD343}" sibTransId="{4049D5A2-15D7-DF47-8396-5CFF8BB0D4FA}"/>
    <dgm:cxn modelId="{919F4B8E-948C-AA46-AEC5-C5CE1ACEA2CB}" type="presOf" srcId="{EAD2F515-C37D-B847-B23C-8B4DC014EAF0}" destId="{B3CBBF77-035F-6A46-AD2D-E8B54C789E8A}" srcOrd="0" destOrd="0" presId="urn:microsoft.com/office/officeart/2005/8/layout/equation2"/>
    <dgm:cxn modelId="{3BBC16A5-24ED-A548-9C96-D2E2F05A8DE7}" srcId="{4A2D4908-E260-4048-B931-A3B62D2FD85E}" destId="{0675314B-02D3-3F46-8012-D320FF148135}" srcOrd="1" destOrd="0" parTransId="{E653B353-D81F-4A47-8745-6418530D5DD6}" sibTransId="{F2D3B372-65A4-7248-9F85-E3F8E2BFA615}"/>
    <dgm:cxn modelId="{BC9C59CB-A689-5448-864A-42901235F9E7}" type="presOf" srcId="{F2D3B372-65A4-7248-9F85-E3F8E2BFA615}" destId="{9E5F0A70-A17C-3243-AC65-718D11C1C2D1}" srcOrd="1" destOrd="0" presId="urn:microsoft.com/office/officeart/2005/8/layout/equation2"/>
    <dgm:cxn modelId="{97DE9CE3-FD86-BE49-8C53-FABE6EB3EF10}" srcId="{4A2D4908-E260-4048-B931-A3B62D2FD85E}" destId="{4DEDD26E-A3EF-4A41-8AB7-7FD1FD5BD4B1}" srcOrd="0" destOrd="0" parTransId="{5F0716FA-0096-1B45-8327-2C6CCD85D2DF}" sibTransId="{EAD2F515-C37D-B847-B23C-8B4DC014EAF0}"/>
    <dgm:cxn modelId="{5A4AA1F6-3A17-2D48-B952-8A76EF9D650B}" type="presOf" srcId="{4A2D4908-E260-4048-B931-A3B62D2FD85E}" destId="{DD218484-9B4F-BE49-8B04-126DF856EA1E}" srcOrd="0" destOrd="0" presId="urn:microsoft.com/office/officeart/2005/8/layout/equation2"/>
    <dgm:cxn modelId="{979AC145-63C0-4E43-ABA8-5CD05D7F8A3F}" type="presParOf" srcId="{DD218484-9B4F-BE49-8B04-126DF856EA1E}" destId="{4787F79D-E021-744E-BE98-6C15D488DE16}" srcOrd="0" destOrd="0" presId="urn:microsoft.com/office/officeart/2005/8/layout/equation2"/>
    <dgm:cxn modelId="{863EEEF9-7396-0941-895D-2935018DBE87}" type="presParOf" srcId="{4787F79D-E021-744E-BE98-6C15D488DE16}" destId="{0E667E3A-8807-1A4C-8376-271378FC6260}" srcOrd="0" destOrd="0" presId="urn:microsoft.com/office/officeart/2005/8/layout/equation2"/>
    <dgm:cxn modelId="{EA408F36-06FD-5143-AF56-F4BBA8891BA6}" type="presParOf" srcId="{4787F79D-E021-744E-BE98-6C15D488DE16}" destId="{05BD4F37-406B-924F-9372-DF73CDB9B73B}" srcOrd="1" destOrd="0" presId="urn:microsoft.com/office/officeart/2005/8/layout/equation2"/>
    <dgm:cxn modelId="{9FADF8A9-B7DF-0E42-80E1-999D1D68C56B}" type="presParOf" srcId="{4787F79D-E021-744E-BE98-6C15D488DE16}" destId="{B3CBBF77-035F-6A46-AD2D-E8B54C789E8A}" srcOrd="2" destOrd="0" presId="urn:microsoft.com/office/officeart/2005/8/layout/equation2"/>
    <dgm:cxn modelId="{2344EE51-52E3-2346-ABFE-29F66D25B390}" type="presParOf" srcId="{4787F79D-E021-744E-BE98-6C15D488DE16}" destId="{557E0947-07B8-9740-9E52-C1F46CB6DDA5}" srcOrd="3" destOrd="0" presId="urn:microsoft.com/office/officeart/2005/8/layout/equation2"/>
    <dgm:cxn modelId="{83DD9C9E-72F1-F744-A55E-7F86DD5AF2C4}" type="presParOf" srcId="{4787F79D-E021-744E-BE98-6C15D488DE16}" destId="{1B53E50B-6D8C-4A4E-B375-7016DBE7469A}" srcOrd="4" destOrd="0" presId="urn:microsoft.com/office/officeart/2005/8/layout/equation2"/>
    <dgm:cxn modelId="{26AFE025-32A0-AF46-A839-DC04753D0D93}" type="presParOf" srcId="{DD218484-9B4F-BE49-8B04-126DF856EA1E}" destId="{7BBC3549-C1EE-134D-B733-0CC64996D41D}" srcOrd="1" destOrd="0" presId="urn:microsoft.com/office/officeart/2005/8/layout/equation2"/>
    <dgm:cxn modelId="{6BA5BBA2-6B7A-A842-9581-169161C43702}" type="presParOf" srcId="{7BBC3549-C1EE-134D-B733-0CC64996D41D}" destId="{9E5F0A70-A17C-3243-AC65-718D11C1C2D1}" srcOrd="0" destOrd="0" presId="urn:microsoft.com/office/officeart/2005/8/layout/equation2"/>
    <dgm:cxn modelId="{251FCEB5-7D61-5F4B-A831-EBA4867AE975}" type="presParOf" srcId="{DD218484-9B4F-BE49-8B04-126DF856EA1E}" destId="{DB3B3B5D-31A2-2046-B27A-F4BFF855A5A8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72C2F2-A410-DC4F-9194-27740ED7EC3E}" type="doc">
      <dgm:prSet loTypeId="urn:microsoft.com/office/officeart/2005/8/layout/radial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AA8152A-980C-FD4C-B2E8-3DDA435E79F0}">
      <dgm:prSet phldrT="[Texte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OFs</a:t>
          </a:r>
          <a:endParaRPr lang="fr-FR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5FA410-3790-1B46-AC3B-EA6F29D67CA4}" type="parTrans" cxnId="{D1BB8A49-7252-E14E-A1F1-5B689BA9D371}">
      <dgm:prSet/>
      <dgm:spPr/>
      <dgm:t>
        <a:bodyPr/>
        <a:lstStyle/>
        <a:p>
          <a:endParaRPr lang="fr-FR"/>
        </a:p>
      </dgm:t>
    </dgm:pt>
    <dgm:pt modelId="{222566DD-5389-2C41-8E30-7951738EDB35}" type="sibTrans" cxnId="{D1BB8A49-7252-E14E-A1F1-5B689BA9D371}">
      <dgm:prSet/>
      <dgm:spPr/>
      <dgm:t>
        <a:bodyPr/>
        <a:lstStyle/>
        <a:p>
          <a:endParaRPr lang="fr-FR"/>
        </a:p>
      </dgm:t>
    </dgm:pt>
    <dgm:pt modelId="{D8D55778-AD68-224C-8CEF-66BC5D482340}">
      <dgm:prSet phldrT="[Texte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est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or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the least squares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ense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265D548-A45E-C842-ABAD-DAD4BF1642AD}" type="parTrans" cxnId="{5179A626-B7B6-774C-8B94-79C23ECBF07F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54A8A8DE-AD03-654C-B49D-70BC0EED9B90}" type="sibTrans" cxnId="{5179A626-B7B6-774C-8B94-79C23ECBF07F}">
      <dgm:prSet/>
      <dgm:spPr/>
      <dgm:t>
        <a:bodyPr/>
        <a:lstStyle/>
        <a:p>
          <a:endParaRPr lang="fr-FR"/>
        </a:p>
      </dgm:t>
    </dgm:pt>
    <dgm:pt modelId="{A7BF9E82-BA4D-B34F-A7A1-460E75CF4A0C}">
      <dgm:prSet phldrT="[Texte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llows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he incorporation of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ifferent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ypes of data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2EE930-A711-FD44-92F9-B1F1415688A7}" type="parTrans" cxnId="{F13F9322-7580-524B-B289-72F8CDEE266C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2304451C-74F4-0D44-8BD5-1BD0AD89597E}" type="sibTrans" cxnId="{F13F9322-7580-524B-B289-72F8CDEE266C}">
      <dgm:prSet/>
      <dgm:spPr/>
      <dgm:t>
        <a:bodyPr/>
        <a:lstStyle/>
        <a:p>
          <a:endParaRPr lang="fr-FR"/>
        </a:p>
      </dgm:t>
    </dgm:pt>
    <mc:AlternateContent xmlns:mc="http://schemas.openxmlformats.org/markup-compatibility/2006" xmlns:a14="http://schemas.microsoft.com/office/drawing/2010/main">
      <mc:Choice Requires="a14">
        <dgm:pt modelId="{7686080F-4C67-A247-BAE8-B4753BF348F6}">
          <dgm:prSet phldrT="[Texte]"/>
          <dgm:spPr>
            <a:solidFill>
              <a:schemeClr val="accent1">
                <a:lumMod val="20000"/>
                <a:lumOff val="80000"/>
              </a:schemeClr>
            </a:solidFill>
          </dgm:spPr>
          <dgm:t>
            <a:bodyPr/>
            <a:lstStyle/>
            <a:p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sible to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imate</a:t>
              </a:r>
              <a14:m>
                <m:oMath xmlns:m="http://schemas.openxmlformats.org/officeDocument/2006/math">
                  <m:r>
                    <a:rPr lang="fr-FR" b="0" i="0" smtClean="0">
                      <a:solidFill>
                        <a:schemeClr val="tx1"/>
                      </a:solidFill>
                      <a:latin typeface="Cambria Math" panose="02040503050406030204" pitchFamily="18" charset="0"/>
                      <a:cs typeface="Arial" panose="020B0604020202020204" pitchFamily="34" charset="0"/>
                    </a:rPr>
                    <m:t> </m:t>
                  </m:r>
                  <m:r>
                    <a:rPr lang="fr-FR" b="1" i="1" smtClean="0">
                      <a:solidFill>
                        <a:schemeClr val="tx1"/>
                      </a:solidFill>
                      <a:latin typeface="Cambria Math" panose="02040503050406030204" pitchFamily="18" charset="0"/>
                      <a:cs typeface="Arial" panose="020B0604020202020204" pitchFamily="34" charset="0"/>
                    </a:rPr>
                    <m:t>𝑬</m:t>
                  </m:r>
                </m:oMath>
              </a14:m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t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ry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ixel</a:t>
              </a:r>
              <a:endParaRPr lang="fr-FR" dirty="0">
                <a:latin typeface="Arial" panose="020B0604020202020204" pitchFamily="34" charset="0"/>
                <a:cs typeface="Arial" panose="020B0604020202020204" pitchFamily="34" charset="0"/>
              </a:endParaRPr>
            </a:p>
          </dgm:t>
        </dgm:pt>
      </mc:Choice>
      <mc:Fallback xmlns="">
        <dgm:pt modelId="{7686080F-4C67-A247-BAE8-B4753BF348F6}">
          <dgm:prSet phldrT="[Texte]"/>
          <dgm:spPr>
            <a:solidFill>
              <a:schemeClr val="accent1">
                <a:lumMod val="20000"/>
                <a:lumOff val="80000"/>
              </a:schemeClr>
            </a:solidFill>
          </dgm:spPr>
          <dgm:t>
            <a:bodyPr/>
            <a:lstStyle/>
            <a:p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sible to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imate</a:t>
              </a:r>
              <a:r>
                <a:rPr lang="fr-FR" b="0" i="0">
                  <a:solidFill>
                    <a:schemeClr val="tx1"/>
                  </a:solidFill>
                  <a:latin typeface="Cambria Math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fr-FR" b="1" i="0">
                  <a:solidFill>
                    <a:schemeClr val="tx1"/>
                  </a:solidFill>
                  <a:latin typeface="Cambria Math" panose="02040503050406030204" pitchFamily="18" charset="0"/>
                  <a:cs typeface="Arial" panose="020B0604020202020204" pitchFamily="34" charset="0"/>
                </a:rPr>
                <a:t>𝑬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t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ry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ixel</a:t>
              </a:r>
              <a:endParaRPr lang="fr-FR" dirty="0">
                <a:latin typeface="Arial" panose="020B0604020202020204" pitchFamily="34" charset="0"/>
                <a:cs typeface="Arial" panose="020B0604020202020204" pitchFamily="34" charset="0"/>
              </a:endParaRPr>
            </a:p>
          </dgm:t>
        </dgm:pt>
      </mc:Fallback>
    </mc:AlternateContent>
    <dgm:pt modelId="{1B9FC9BD-F5C2-6044-BE45-DC9E21EF8298}" type="parTrans" cxnId="{869BC330-23E4-0048-AEF2-85C4BCCC2375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CE24D180-AB58-FC42-B3C8-83F43FA81083}" type="sibTrans" cxnId="{869BC330-23E4-0048-AEF2-85C4BCCC2375}">
      <dgm:prSet/>
      <dgm:spPr/>
      <dgm:t>
        <a:bodyPr/>
        <a:lstStyle/>
        <a:p>
          <a:endParaRPr lang="fr-FR"/>
        </a:p>
      </dgm:t>
    </dgm:pt>
    <dgm:pt modelId="{85D78825-B7B7-4F43-B8DB-E11A547DDC5A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on’t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eed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model for the data</a:t>
          </a:r>
          <a:endParaRPr lang="fr-FR" dirty="0">
            <a:solidFill>
              <a:schemeClr val="tx1"/>
            </a:solidFill>
          </a:endParaRPr>
        </a:p>
      </dgm:t>
    </dgm:pt>
    <dgm:pt modelId="{724992D5-76DF-564A-9F50-B236F21FDFDC}" type="parTrans" cxnId="{81BCD125-C61A-1443-A284-F05760FD2741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1820F0F3-A224-6841-B039-7559C875FE91}" type="sibTrans" cxnId="{81BCD125-C61A-1443-A284-F05760FD2741}">
      <dgm:prSet/>
      <dgm:spPr/>
      <dgm:t>
        <a:bodyPr/>
        <a:lstStyle/>
        <a:p>
          <a:endParaRPr lang="fr-FR"/>
        </a:p>
      </dgm:t>
    </dgm:pt>
    <dgm:pt modelId="{362E6A41-3B0B-5D49-B221-94F8692374D1}" type="pres">
      <dgm:prSet presAssocID="{9672C2F2-A410-DC4F-9194-27740ED7EC3E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907FA14-96D4-D94A-8EBA-10A27156D47E}" type="pres">
      <dgm:prSet presAssocID="{6AA8152A-980C-FD4C-B2E8-3DDA435E79F0}" presName="centerShape" presStyleLbl="node0" presStyleIdx="0" presStyleCnt="1" custLinFactX="-81070" custLinFactNeighborX="-100000" custLinFactNeighborY="-6067"/>
      <dgm:spPr/>
    </dgm:pt>
    <dgm:pt modelId="{C27DD661-3875-E649-9444-97057ABF57BD}" type="pres">
      <dgm:prSet presAssocID="{4265D548-A45E-C842-ABAD-DAD4BF1642AD}" presName="Name9" presStyleLbl="parChTrans1D2" presStyleIdx="0" presStyleCnt="4"/>
      <dgm:spPr/>
    </dgm:pt>
    <dgm:pt modelId="{A0C186F9-FF5C-3D4E-8F35-7D742CABED6E}" type="pres">
      <dgm:prSet presAssocID="{4265D548-A45E-C842-ABAD-DAD4BF1642AD}" presName="connTx" presStyleLbl="parChTrans1D2" presStyleIdx="0" presStyleCnt="4"/>
      <dgm:spPr/>
    </dgm:pt>
    <dgm:pt modelId="{9C658DBC-9B66-1440-B2AD-2EF5E1D9F5FB}" type="pres">
      <dgm:prSet presAssocID="{D8D55778-AD68-224C-8CEF-66BC5D482340}" presName="node" presStyleLbl="node1" presStyleIdx="0" presStyleCnt="4" custRadScaleRad="212277" custRadScaleInc="-137713">
        <dgm:presLayoutVars>
          <dgm:bulletEnabled val="1"/>
        </dgm:presLayoutVars>
      </dgm:prSet>
      <dgm:spPr/>
    </dgm:pt>
    <dgm:pt modelId="{B0438BA7-9E40-1644-AE6C-6235866FD33B}" type="pres">
      <dgm:prSet presAssocID="{724992D5-76DF-564A-9F50-B236F21FDFDC}" presName="Name9" presStyleLbl="parChTrans1D2" presStyleIdx="1" presStyleCnt="4"/>
      <dgm:spPr/>
    </dgm:pt>
    <dgm:pt modelId="{73FC19BB-3B92-B946-863A-CE14124D27BB}" type="pres">
      <dgm:prSet presAssocID="{724992D5-76DF-564A-9F50-B236F21FDFDC}" presName="connTx" presStyleLbl="parChTrans1D2" presStyleIdx="1" presStyleCnt="4"/>
      <dgm:spPr/>
    </dgm:pt>
    <dgm:pt modelId="{E4BF4D41-CF7A-F44C-B30B-2F238E47CE01}" type="pres">
      <dgm:prSet presAssocID="{85D78825-B7B7-4F43-B8DB-E11A547DDC5A}" presName="node" presStyleLbl="node1" presStyleIdx="1" presStyleCnt="4" custRadScaleRad="124844" custRadScaleInc="350767">
        <dgm:presLayoutVars>
          <dgm:bulletEnabled val="1"/>
        </dgm:presLayoutVars>
      </dgm:prSet>
      <dgm:spPr/>
    </dgm:pt>
    <dgm:pt modelId="{C3B76036-B83B-A249-9C98-00EE49DA89BF}" type="pres">
      <dgm:prSet presAssocID="{1B2EE930-A711-FD44-92F9-B1F1415688A7}" presName="Name9" presStyleLbl="parChTrans1D2" presStyleIdx="2" presStyleCnt="4"/>
      <dgm:spPr/>
    </dgm:pt>
    <dgm:pt modelId="{09751A8B-D859-994C-836B-8EBC2125E60A}" type="pres">
      <dgm:prSet presAssocID="{1B2EE930-A711-FD44-92F9-B1F1415688A7}" presName="connTx" presStyleLbl="parChTrans1D2" presStyleIdx="2" presStyleCnt="4"/>
      <dgm:spPr/>
    </dgm:pt>
    <dgm:pt modelId="{AFA8A96F-4F04-E84B-8B04-B86D842C2B34}" type="pres">
      <dgm:prSet presAssocID="{A7BF9E82-BA4D-B34F-A7A1-460E75CF4A0C}" presName="node" presStyleLbl="node1" presStyleIdx="2" presStyleCnt="4" custRadScaleRad="213291" custRadScaleInc="137774">
        <dgm:presLayoutVars>
          <dgm:bulletEnabled val="1"/>
        </dgm:presLayoutVars>
      </dgm:prSet>
      <dgm:spPr/>
    </dgm:pt>
    <dgm:pt modelId="{6CF50741-BD12-0D48-85C7-70F72BCA611B}" type="pres">
      <dgm:prSet presAssocID="{1B9FC9BD-F5C2-6044-BE45-DC9E21EF8298}" presName="Name9" presStyleLbl="parChTrans1D2" presStyleIdx="3" presStyleCnt="4"/>
      <dgm:spPr/>
    </dgm:pt>
    <dgm:pt modelId="{495F4310-546A-FD49-A881-D140A6924D8F}" type="pres">
      <dgm:prSet presAssocID="{1B9FC9BD-F5C2-6044-BE45-DC9E21EF8298}" presName="connTx" presStyleLbl="parChTrans1D2" presStyleIdx="3" presStyleCnt="4"/>
      <dgm:spPr/>
    </dgm:pt>
    <dgm:pt modelId="{D103220A-237F-D24A-9EFB-9DA96CE1D478}" type="pres">
      <dgm:prSet presAssocID="{7686080F-4C67-A247-BAE8-B4753BF348F6}" presName="node" presStyleLbl="node1" presStyleIdx="3" presStyleCnt="4" custRadScaleRad="121073" custRadScaleInc="40277">
        <dgm:presLayoutVars>
          <dgm:bulletEnabled val="1"/>
        </dgm:presLayoutVars>
      </dgm:prSet>
      <dgm:spPr/>
    </dgm:pt>
  </dgm:ptLst>
  <dgm:cxnLst>
    <dgm:cxn modelId="{5C76AD0E-E285-9042-8185-B3A8C9ADA64F}" type="presOf" srcId="{724992D5-76DF-564A-9F50-B236F21FDFDC}" destId="{B0438BA7-9E40-1644-AE6C-6235866FD33B}" srcOrd="0" destOrd="0" presId="urn:microsoft.com/office/officeart/2005/8/layout/radial1"/>
    <dgm:cxn modelId="{083E5F14-05D8-8C44-82B5-213096DD6E76}" type="presOf" srcId="{1B9FC9BD-F5C2-6044-BE45-DC9E21EF8298}" destId="{495F4310-546A-FD49-A881-D140A6924D8F}" srcOrd="1" destOrd="0" presId="urn:microsoft.com/office/officeart/2005/8/layout/radial1"/>
    <dgm:cxn modelId="{C5BFD215-D78D-BE42-88CC-BC00506BD632}" type="presOf" srcId="{1B2EE930-A711-FD44-92F9-B1F1415688A7}" destId="{09751A8B-D859-994C-836B-8EBC2125E60A}" srcOrd="1" destOrd="0" presId="urn:microsoft.com/office/officeart/2005/8/layout/radial1"/>
    <dgm:cxn modelId="{F13F9322-7580-524B-B289-72F8CDEE266C}" srcId="{6AA8152A-980C-FD4C-B2E8-3DDA435E79F0}" destId="{A7BF9E82-BA4D-B34F-A7A1-460E75CF4A0C}" srcOrd="2" destOrd="0" parTransId="{1B2EE930-A711-FD44-92F9-B1F1415688A7}" sibTransId="{2304451C-74F4-0D44-8BD5-1BD0AD89597E}"/>
    <dgm:cxn modelId="{44E09A24-B8C2-F140-9773-053DD9347B94}" type="presOf" srcId="{724992D5-76DF-564A-9F50-B236F21FDFDC}" destId="{73FC19BB-3B92-B946-863A-CE14124D27BB}" srcOrd="1" destOrd="0" presId="urn:microsoft.com/office/officeart/2005/8/layout/radial1"/>
    <dgm:cxn modelId="{81BCD125-C61A-1443-A284-F05760FD2741}" srcId="{6AA8152A-980C-FD4C-B2E8-3DDA435E79F0}" destId="{85D78825-B7B7-4F43-B8DB-E11A547DDC5A}" srcOrd="1" destOrd="0" parTransId="{724992D5-76DF-564A-9F50-B236F21FDFDC}" sibTransId="{1820F0F3-A224-6841-B039-7559C875FE91}"/>
    <dgm:cxn modelId="{5179A626-B7B6-774C-8B94-79C23ECBF07F}" srcId="{6AA8152A-980C-FD4C-B2E8-3DDA435E79F0}" destId="{D8D55778-AD68-224C-8CEF-66BC5D482340}" srcOrd="0" destOrd="0" parTransId="{4265D548-A45E-C842-ABAD-DAD4BF1642AD}" sibTransId="{54A8A8DE-AD03-654C-B49D-70BC0EED9B90}"/>
    <dgm:cxn modelId="{869BC330-23E4-0048-AEF2-85C4BCCC2375}" srcId="{6AA8152A-980C-FD4C-B2E8-3DDA435E79F0}" destId="{7686080F-4C67-A247-BAE8-B4753BF348F6}" srcOrd="3" destOrd="0" parTransId="{1B9FC9BD-F5C2-6044-BE45-DC9E21EF8298}" sibTransId="{CE24D180-AB58-FC42-B3C8-83F43FA81083}"/>
    <dgm:cxn modelId="{314C3F35-557E-2F4E-A103-DA3DD0289CBD}" type="presOf" srcId="{7686080F-4C67-A247-BAE8-B4753BF348F6}" destId="{D103220A-237F-D24A-9EFB-9DA96CE1D478}" srcOrd="0" destOrd="0" presId="urn:microsoft.com/office/officeart/2005/8/layout/radial1"/>
    <dgm:cxn modelId="{CB979539-90F8-A84B-9720-340E7B62A8C4}" type="presOf" srcId="{1B2EE930-A711-FD44-92F9-B1F1415688A7}" destId="{C3B76036-B83B-A249-9C98-00EE49DA89BF}" srcOrd="0" destOrd="0" presId="urn:microsoft.com/office/officeart/2005/8/layout/radial1"/>
    <dgm:cxn modelId="{B5AB1940-4DCC-3B4F-B045-B1849B8FBF1F}" type="presOf" srcId="{9672C2F2-A410-DC4F-9194-27740ED7EC3E}" destId="{362E6A41-3B0B-5D49-B221-94F8692374D1}" srcOrd="0" destOrd="0" presId="urn:microsoft.com/office/officeart/2005/8/layout/radial1"/>
    <dgm:cxn modelId="{D1BB8A49-7252-E14E-A1F1-5B689BA9D371}" srcId="{9672C2F2-A410-DC4F-9194-27740ED7EC3E}" destId="{6AA8152A-980C-FD4C-B2E8-3DDA435E79F0}" srcOrd="0" destOrd="0" parTransId="{6F5FA410-3790-1B46-AC3B-EA6F29D67CA4}" sibTransId="{222566DD-5389-2C41-8E30-7951738EDB35}"/>
    <dgm:cxn modelId="{65DC4E67-46F2-104A-AAE6-85E475FAB4A3}" type="presOf" srcId="{A7BF9E82-BA4D-B34F-A7A1-460E75CF4A0C}" destId="{AFA8A96F-4F04-E84B-8B04-B86D842C2B34}" srcOrd="0" destOrd="0" presId="urn:microsoft.com/office/officeart/2005/8/layout/radial1"/>
    <dgm:cxn modelId="{B7421D82-D7F6-CC40-8896-C85F250A9075}" type="presOf" srcId="{4265D548-A45E-C842-ABAD-DAD4BF1642AD}" destId="{A0C186F9-FF5C-3D4E-8F35-7D742CABED6E}" srcOrd="1" destOrd="0" presId="urn:microsoft.com/office/officeart/2005/8/layout/radial1"/>
    <dgm:cxn modelId="{CE27B495-F4C9-E643-AF2A-CEB8E648E840}" type="presOf" srcId="{1B9FC9BD-F5C2-6044-BE45-DC9E21EF8298}" destId="{6CF50741-BD12-0D48-85C7-70F72BCA611B}" srcOrd="0" destOrd="0" presId="urn:microsoft.com/office/officeart/2005/8/layout/radial1"/>
    <dgm:cxn modelId="{3DA964B6-AA20-EF4D-A54B-2618D08B7417}" type="presOf" srcId="{D8D55778-AD68-224C-8CEF-66BC5D482340}" destId="{9C658DBC-9B66-1440-B2AD-2EF5E1D9F5FB}" srcOrd="0" destOrd="0" presId="urn:microsoft.com/office/officeart/2005/8/layout/radial1"/>
    <dgm:cxn modelId="{342617D8-9F9E-4F47-B566-A25EC5327806}" type="presOf" srcId="{85D78825-B7B7-4F43-B8DB-E11A547DDC5A}" destId="{E4BF4D41-CF7A-F44C-B30B-2F238E47CE01}" srcOrd="0" destOrd="0" presId="urn:microsoft.com/office/officeart/2005/8/layout/radial1"/>
    <dgm:cxn modelId="{42ABF0DA-BF69-8640-85FF-420D5742A04D}" type="presOf" srcId="{6AA8152A-980C-FD4C-B2E8-3DDA435E79F0}" destId="{5907FA14-96D4-D94A-8EBA-10A27156D47E}" srcOrd="0" destOrd="0" presId="urn:microsoft.com/office/officeart/2005/8/layout/radial1"/>
    <dgm:cxn modelId="{B41A1DEC-F501-CE47-998B-003C9A4C88B6}" type="presOf" srcId="{4265D548-A45E-C842-ABAD-DAD4BF1642AD}" destId="{C27DD661-3875-E649-9444-97057ABF57BD}" srcOrd="0" destOrd="0" presId="urn:microsoft.com/office/officeart/2005/8/layout/radial1"/>
    <dgm:cxn modelId="{4A2C43FB-055B-0A45-904A-0FA48F4C78CC}" type="presParOf" srcId="{362E6A41-3B0B-5D49-B221-94F8692374D1}" destId="{5907FA14-96D4-D94A-8EBA-10A27156D47E}" srcOrd="0" destOrd="0" presId="urn:microsoft.com/office/officeart/2005/8/layout/radial1"/>
    <dgm:cxn modelId="{23AA46AF-8A39-6F46-B9EE-D51D068E3946}" type="presParOf" srcId="{362E6A41-3B0B-5D49-B221-94F8692374D1}" destId="{C27DD661-3875-E649-9444-97057ABF57BD}" srcOrd="1" destOrd="0" presId="urn:microsoft.com/office/officeart/2005/8/layout/radial1"/>
    <dgm:cxn modelId="{98AF28D1-B6AB-E34C-94B6-6EF1BCE85E03}" type="presParOf" srcId="{C27DD661-3875-E649-9444-97057ABF57BD}" destId="{A0C186F9-FF5C-3D4E-8F35-7D742CABED6E}" srcOrd="0" destOrd="0" presId="urn:microsoft.com/office/officeart/2005/8/layout/radial1"/>
    <dgm:cxn modelId="{AC6D3179-D441-314D-8B61-7AE5121F1315}" type="presParOf" srcId="{362E6A41-3B0B-5D49-B221-94F8692374D1}" destId="{9C658DBC-9B66-1440-B2AD-2EF5E1D9F5FB}" srcOrd="2" destOrd="0" presId="urn:microsoft.com/office/officeart/2005/8/layout/radial1"/>
    <dgm:cxn modelId="{7BE11B01-76A0-D544-992A-E91604680B0D}" type="presParOf" srcId="{362E6A41-3B0B-5D49-B221-94F8692374D1}" destId="{B0438BA7-9E40-1644-AE6C-6235866FD33B}" srcOrd="3" destOrd="0" presId="urn:microsoft.com/office/officeart/2005/8/layout/radial1"/>
    <dgm:cxn modelId="{D7E61939-90B3-9B49-9E15-F198B026F983}" type="presParOf" srcId="{B0438BA7-9E40-1644-AE6C-6235866FD33B}" destId="{73FC19BB-3B92-B946-863A-CE14124D27BB}" srcOrd="0" destOrd="0" presId="urn:microsoft.com/office/officeart/2005/8/layout/radial1"/>
    <dgm:cxn modelId="{2C6D278B-8742-0741-AD7F-C66D1286FD4B}" type="presParOf" srcId="{362E6A41-3B0B-5D49-B221-94F8692374D1}" destId="{E4BF4D41-CF7A-F44C-B30B-2F238E47CE01}" srcOrd="4" destOrd="0" presId="urn:microsoft.com/office/officeart/2005/8/layout/radial1"/>
    <dgm:cxn modelId="{46858CD6-B7C1-884F-9E17-D13BDB607A9D}" type="presParOf" srcId="{362E6A41-3B0B-5D49-B221-94F8692374D1}" destId="{C3B76036-B83B-A249-9C98-00EE49DA89BF}" srcOrd="5" destOrd="0" presId="urn:microsoft.com/office/officeart/2005/8/layout/radial1"/>
    <dgm:cxn modelId="{58F16257-4D57-7A47-B9C2-543A25F9DCF1}" type="presParOf" srcId="{C3B76036-B83B-A249-9C98-00EE49DA89BF}" destId="{09751A8B-D859-994C-836B-8EBC2125E60A}" srcOrd="0" destOrd="0" presId="urn:microsoft.com/office/officeart/2005/8/layout/radial1"/>
    <dgm:cxn modelId="{A53B8715-8A7F-4F4C-9ACC-181CF0523C8C}" type="presParOf" srcId="{362E6A41-3B0B-5D49-B221-94F8692374D1}" destId="{AFA8A96F-4F04-E84B-8B04-B86D842C2B34}" srcOrd="6" destOrd="0" presId="urn:microsoft.com/office/officeart/2005/8/layout/radial1"/>
    <dgm:cxn modelId="{522FC580-0CB4-8A40-829E-0BCC281A2975}" type="presParOf" srcId="{362E6A41-3B0B-5D49-B221-94F8692374D1}" destId="{6CF50741-BD12-0D48-85C7-70F72BCA611B}" srcOrd="7" destOrd="0" presId="urn:microsoft.com/office/officeart/2005/8/layout/radial1"/>
    <dgm:cxn modelId="{E2F9239E-1AA3-BF4C-8A8B-2788F310F6C0}" type="presParOf" srcId="{6CF50741-BD12-0D48-85C7-70F72BCA611B}" destId="{495F4310-546A-FD49-A881-D140A6924D8F}" srcOrd="0" destOrd="0" presId="urn:microsoft.com/office/officeart/2005/8/layout/radial1"/>
    <dgm:cxn modelId="{450CED2C-01FE-B743-8254-485FE621ED6C}" type="presParOf" srcId="{362E6A41-3B0B-5D49-B221-94F8692374D1}" destId="{D103220A-237F-D24A-9EFB-9DA96CE1D478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72C2F2-A410-DC4F-9194-27740ED7EC3E}" type="doc">
      <dgm:prSet loTypeId="urn:microsoft.com/office/officeart/2005/8/layout/radial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AA8152A-980C-FD4C-B2E8-3DDA435E79F0}">
      <dgm:prSet phldrT="[Texte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OFs</a:t>
          </a:r>
          <a:endParaRPr lang="fr-FR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5FA410-3790-1B46-AC3B-EA6F29D67CA4}" type="parTrans" cxnId="{D1BB8A49-7252-E14E-A1F1-5B689BA9D371}">
      <dgm:prSet/>
      <dgm:spPr/>
      <dgm:t>
        <a:bodyPr/>
        <a:lstStyle/>
        <a:p>
          <a:endParaRPr lang="fr-FR"/>
        </a:p>
      </dgm:t>
    </dgm:pt>
    <dgm:pt modelId="{222566DD-5389-2C41-8E30-7951738EDB35}" type="sibTrans" cxnId="{D1BB8A49-7252-E14E-A1F1-5B689BA9D371}">
      <dgm:prSet/>
      <dgm:spPr/>
      <dgm:t>
        <a:bodyPr/>
        <a:lstStyle/>
        <a:p>
          <a:endParaRPr lang="fr-FR"/>
        </a:p>
      </dgm:t>
    </dgm:pt>
    <dgm:pt modelId="{D8D55778-AD68-224C-8CEF-66BC5D482340}">
      <dgm:prSet phldrT="[Texte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est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or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the least squares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ense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265D548-A45E-C842-ABAD-DAD4BF1642AD}" type="parTrans" cxnId="{5179A626-B7B6-774C-8B94-79C23ECBF07F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54A8A8DE-AD03-654C-B49D-70BC0EED9B90}" type="sibTrans" cxnId="{5179A626-B7B6-774C-8B94-79C23ECBF07F}">
      <dgm:prSet/>
      <dgm:spPr/>
      <dgm:t>
        <a:bodyPr/>
        <a:lstStyle/>
        <a:p>
          <a:endParaRPr lang="fr-FR"/>
        </a:p>
      </dgm:t>
    </dgm:pt>
    <dgm:pt modelId="{A7BF9E82-BA4D-B34F-A7A1-460E75CF4A0C}">
      <dgm:prSet phldrT="[Texte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llows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he incorporation of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ifferent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ypes of data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2EE930-A711-FD44-92F9-B1F1415688A7}" type="parTrans" cxnId="{F13F9322-7580-524B-B289-72F8CDEE266C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2304451C-74F4-0D44-8BD5-1BD0AD89597E}" type="sibTrans" cxnId="{F13F9322-7580-524B-B289-72F8CDEE266C}">
      <dgm:prSet/>
      <dgm:spPr/>
      <dgm:t>
        <a:bodyPr/>
        <a:lstStyle/>
        <a:p>
          <a:endParaRPr lang="fr-FR"/>
        </a:p>
      </dgm:t>
    </dgm:pt>
    <dgm:pt modelId="{7686080F-4C67-A247-BAE8-B4753BF348F6}">
      <dgm:prSet phldrT="[Texte]"/>
      <dgm:spPr>
        <a:blipFill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fr-FR">
              <a:noFill/>
            </a:rPr>
            <a:t> </a:t>
          </a:r>
        </a:p>
      </dgm:t>
    </dgm:pt>
    <dgm:pt modelId="{1B9FC9BD-F5C2-6044-BE45-DC9E21EF8298}" type="parTrans" cxnId="{869BC330-23E4-0048-AEF2-85C4BCCC2375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CE24D180-AB58-FC42-B3C8-83F43FA81083}" type="sibTrans" cxnId="{869BC330-23E4-0048-AEF2-85C4BCCC2375}">
      <dgm:prSet/>
      <dgm:spPr/>
      <dgm:t>
        <a:bodyPr/>
        <a:lstStyle/>
        <a:p>
          <a:endParaRPr lang="fr-FR"/>
        </a:p>
      </dgm:t>
    </dgm:pt>
    <dgm:pt modelId="{85D78825-B7B7-4F43-B8DB-E11A547DDC5A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on’t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eed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model for the data</a:t>
          </a:r>
          <a:endParaRPr lang="fr-FR" dirty="0">
            <a:solidFill>
              <a:schemeClr val="tx1"/>
            </a:solidFill>
          </a:endParaRPr>
        </a:p>
      </dgm:t>
    </dgm:pt>
    <dgm:pt modelId="{724992D5-76DF-564A-9F50-B236F21FDFDC}" type="parTrans" cxnId="{81BCD125-C61A-1443-A284-F05760FD2741}">
      <dgm:prSet/>
      <dgm:spPr>
        <a:ln w="25400">
          <a:solidFill>
            <a:schemeClr val="accent1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1820F0F3-A224-6841-B039-7559C875FE91}" type="sibTrans" cxnId="{81BCD125-C61A-1443-A284-F05760FD2741}">
      <dgm:prSet/>
      <dgm:spPr/>
      <dgm:t>
        <a:bodyPr/>
        <a:lstStyle/>
        <a:p>
          <a:endParaRPr lang="fr-FR"/>
        </a:p>
      </dgm:t>
    </dgm:pt>
    <dgm:pt modelId="{362E6A41-3B0B-5D49-B221-94F8692374D1}" type="pres">
      <dgm:prSet presAssocID="{9672C2F2-A410-DC4F-9194-27740ED7EC3E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907FA14-96D4-D94A-8EBA-10A27156D47E}" type="pres">
      <dgm:prSet presAssocID="{6AA8152A-980C-FD4C-B2E8-3DDA435E79F0}" presName="centerShape" presStyleLbl="node0" presStyleIdx="0" presStyleCnt="1" custLinFactX="-81070" custLinFactNeighborX="-100000" custLinFactNeighborY="-6067"/>
      <dgm:spPr/>
    </dgm:pt>
    <dgm:pt modelId="{C27DD661-3875-E649-9444-97057ABF57BD}" type="pres">
      <dgm:prSet presAssocID="{4265D548-A45E-C842-ABAD-DAD4BF1642AD}" presName="Name9" presStyleLbl="parChTrans1D2" presStyleIdx="0" presStyleCnt="4"/>
      <dgm:spPr/>
    </dgm:pt>
    <dgm:pt modelId="{A0C186F9-FF5C-3D4E-8F35-7D742CABED6E}" type="pres">
      <dgm:prSet presAssocID="{4265D548-A45E-C842-ABAD-DAD4BF1642AD}" presName="connTx" presStyleLbl="parChTrans1D2" presStyleIdx="0" presStyleCnt="4"/>
      <dgm:spPr/>
    </dgm:pt>
    <dgm:pt modelId="{9C658DBC-9B66-1440-B2AD-2EF5E1D9F5FB}" type="pres">
      <dgm:prSet presAssocID="{D8D55778-AD68-224C-8CEF-66BC5D482340}" presName="node" presStyleLbl="node1" presStyleIdx="0" presStyleCnt="4" custRadScaleRad="212277" custRadScaleInc="-137713">
        <dgm:presLayoutVars>
          <dgm:bulletEnabled val="1"/>
        </dgm:presLayoutVars>
      </dgm:prSet>
      <dgm:spPr/>
    </dgm:pt>
    <dgm:pt modelId="{B0438BA7-9E40-1644-AE6C-6235866FD33B}" type="pres">
      <dgm:prSet presAssocID="{724992D5-76DF-564A-9F50-B236F21FDFDC}" presName="Name9" presStyleLbl="parChTrans1D2" presStyleIdx="1" presStyleCnt="4"/>
      <dgm:spPr/>
    </dgm:pt>
    <dgm:pt modelId="{73FC19BB-3B92-B946-863A-CE14124D27BB}" type="pres">
      <dgm:prSet presAssocID="{724992D5-76DF-564A-9F50-B236F21FDFDC}" presName="connTx" presStyleLbl="parChTrans1D2" presStyleIdx="1" presStyleCnt="4"/>
      <dgm:spPr/>
    </dgm:pt>
    <dgm:pt modelId="{E4BF4D41-CF7A-F44C-B30B-2F238E47CE01}" type="pres">
      <dgm:prSet presAssocID="{85D78825-B7B7-4F43-B8DB-E11A547DDC5A}" presName="node" presStyleLbl="node1" presStyleIdx="1" presStyleCnt="4" custRadScaleRad="124844" custRadScaleInc="350767">
        <dgm:presLayoutVars>
          <dgm:bulletEnabled val="1"/>
        </dgm:presLayoutVars>
      </dgm:prSet>
      <dgm:spPr/>
    </dgm:pt>
    <dgm:pt modelId="{C3B76036-B83B-A249-9C98-00EE49DA89BF}" type="pres">
      <dgm:prSet presAssocID="{1B2EE930-A711-FD44-92F9-B1F1415688A7}" presName="Name9" presStyleLbl="parChTrans1D2" presStyleIdx="2" presStyleCnt="4"/>
      <dgm:spPr/>
    </dgm:pt>
    <dgm:pt modelId="{09751A8B-D859-994C-836B-8EBC2125E60A}" type="pres">
      <dgm:prSet presAssocID="{1B2EE930-A711-FD44-92F9-B1F1415688A7}" presName="connTx" presStyleLbl="parChTrans1D2" presStyleIdx="2" presStyleCnt="4"/>
      <dgm:spPr/>
    </dgm:pt>
    <dgm:pt modelId="{AFA8A96F-4F04-E84B-8B04-B86D842C2B34}" type="pres">
      <dgm:prSet presAssocID="{A7BF9E82-BA4D-B34F-A7A1-460E75CF4A0C}" presName="node" presStyleLbl="node1" presStyleIdx="2" presStyleCnt="4" custRadScaleRad="213291" custRadScaleInc="137774">
        <dgm:presLayoutVars>
          <dgm:bulletEnabled val="1"/>
        </dgm:presLayoutVars>
      </dgm:prSet>
      <dgm:spPr/>
    </dgm:pt>
    <dgm:pt modelId="{6CF50741-BD12-0D48-85C7-70F72BCA611B}" type="pres">
      <dgm:prSet presAssocID="{1B9FC9BD-F5C2-6044-BE45-DC9E21EF8298}" presName="Name9" presStyleLbl="parChTrans1D2" presStyleIdx="3" presStyleCnt="4"/>
      <dgm:spPr/>
    </dgm:pt>
    <dgm:pt modelId="{495F4310-546A-FD49-A881-D140A6924D8F}" type="pres">
      <dgm:prSet presAssocID="{1B9FC9BD-F5C2-6044-BE45-DC9E21EF8298}" presName="connTx" presStyleLbl="parChTrans1D2" presStyleIdx="3" presStyleCnt="4"/>
      <dgm:spPr/>
    </dgm:pt>
    <dgm:pt modelId="{D103220A-237F-D24A-9EFB-9DA96CE1D478}" type="pres">
      <dgm:prSet presAssocID="{7686080F-4C67-A247-BAE8-B4753BF348F6}" presName="node" presStyleLbl="node1" presStyleIdx="3" presStyleCnt="4" custRadScaleRad="121073" custRadScaleInc="40277">
        <dgm:presLayoutVars>
          <dgm:bulletEnabled val="1"/>
        </dgm:presLayoutVars>
      </dgm:prSet>
      <dgm:spPr/>
    </dgm:pt>
  </dgm:ptLst>
  <dgm:cxnLst>
    <dgm:cxn modelId="{5C76AD0E-E285-9042-8185-B3A8C9ADA64F}" type="presOf" srcId="{724992D5-76DF-564A-9F50-B236F21FDFDC}" destId="{B0438BA7-9E40-1644-AE6C-6235866FD33B}" srcOrd="0" destOrd="0" presId="urn:microsoft.com/office/officeart/2005/8/layout/radial1"/>
    <dgm:cxn modelId="{083E5F14-05D8-8C44-82B5-213096DD6E76}" type="presOf" srcId="{1B9FC9BD-F5C2-6044-BE45-DC9E21EF8298}" destId="{495F4310-546A-FD49-A881-D140A6924D8F}" srcOrd="1" destOrd="0" presId="urn:microsoft.com/office/officeart/2005/8/layout/radial1"/>
    <dgm:cxn modelId="{C5BFD215-D78D-BE42-88CC-BC00506BD632}" type="presOf" srcId="{1B2EE930-A711-FD44-92F9-B1F1415688A7}" destId="{09751A8B-D859-994C-836B-8EBC2125E60A}" srcOrd="1" destOrd="0" presId="urn:microsoft.com/office/officeart/2005/8/layout/radial1"/>
    <dgm:cxn modelId="{F13F9322-7580-524B-B289-72F8CDEE266C}" srcId="{6AA8152A-980C-FD4C-B2E8-3DDA435E79F0}" destId="{A7BF9E82-BA4D-B34F-A7A1-460E75CF4A0C}" srcOrd="2" destOrd="0" parTransId="{1B2EE930-A711-FD44-92F9-B1F1415688A7}" sibTransId="{2304451C-74F4-0D44-8BD5-1BD0AD89597E}"/>
    <dgm:cxn modelId="{44E09A24-B8C2-F140-9773-053DD9347B94}" type="presOf" srcId="{724992D5-76DF-564A-9F50-B236F21FDFDC}" destId="{73FC19BB-3B92-B946-863A-CE14124D27BB}" srcOrd="1" destOrd="0" presId="urn:microsoft.com/office/officeart/2005/8/layout/radial1"/>
    <dgm:cxn modelId="{81BCD125-C61A-1443-A284-F05760FD2741}" srcId="{6AA8152A-980C-FD4C-B2E8-3DDA435E79F0}" destId="{85D78825-B7B7-4F43-B8DB-E11A547DDC5A}" srcOrd="1" destOrd="0" parTransId="{724992D5-76DF-564A-9F50-B236F21FDFDC}" sibTransId="{1820F0F3-A224-6841-B039-7559C875FE91}"/>
    <dgm:cxn modelId="{5179A626-B7B6-774C-8B94-79C23ECBF07F}" srcId="{6AA8152A-980C-FD4C-B2E8-3DDA435E79F0}" destId="{D8D55778-AD68-224C-8CEF-66BC5D482340}" srcOrd="0" destOrd="0" parTransId="{4265D548-A45E-C842-ABAD-DAD4BF1642AD}" sibTransId="{54A8A8DE-AD03-654C-B49D-70BC0EED9B90}"/>
    <dgm:cxn modelId="{869BC330-23E4-0048-AEF2-85C4BCCC2375}" srcId="{6AA8152A-980C-FD4C-B2E8-3DDA435E79F0}" destId="{7686080F-4C67-A247-BAE8-B4753BF348F6}" srcOrd="3" destOrd="0" parTransId="{1B9FC9BD-F5C2-6044-BE45-DC9E21EF8298}" sibTransId="{CE24D180-AB58-FC42-B3C8-83F43FA81083}"/>
    <dgm:cxn modelId="{314C3F35-557E-2F4E-A103-DA3DD0289CBD}" type="presOf" srcId="{7686080F-4C67-A247-BAE8-B4753BF348F6}" destId="{D103220A-237F-D24A-9EFB-9DA96CE1D478}" srcOrd="0" destOrd="0" presId="urn:microsoft.com/office/officeart/2005/8/layout/radial1"/>
    <dgm:cxn modelId="{CB979539-90F8-A84B-9720-340E7B62A8C4}" type="presOf" srcId="{1B2EE930-A711-FD44-92F9-B1F1415688A7}" destId="{C3B76036-B83B-A249-9C98-00EE49DA89BF}" srcOrd="0" destOrd="0" presId="urn:microsoft.com/office/officeart/2005/8/layout/radial1"/>
    <dgm:cxn modelId="{B5AB1940-4DCC-3B4F-B045-B1849B8FBF1F}" type="presOf" srcId="{9672C2F2-A410-DC4F-9194-27740ED7EC3E}" destId="{362E6A41-3B0B-5D49-B221-94F8692374D1}" srcOrd="0" destOrd="0" presId="urn:microsoft.com/office/officeart/2005/8/layout/radial1"/>
    <dgm:cxn modelId="{D1BB8A49-7252-E14E-A1F1-5B689BA9D371}" srcId="{9672C2F2-A410-DC4F-9194-27740ED7EC3E}" destId="{6AA8152A-980C-FD4C-B2E8-3DDA435E79F0}" srcOrd="0" destOrd="0" parTransId="{6F5FA410-3790-1B46-AC3B-EA6F29D67CA4}" sibTransId="{222566DD-5389-2C41-8E30-7951738EDB35}"/>
    <dgm:cxn modelId="{65DC4E67-46F2-104A-AAE6-85E475FAB4A3}" type="presOf" srcId="{A7BF9E82-BA4D-B34F-A7A1-460E75CF4A0C}" destId="{AFA8A96F-4F04-E84B-8B04-B86D842C2B34}" srcOrd="0" destOrd="0" presId="urn:microsoft.com/office/officeart/2005/8/layout/radial1"/>
    <dgm:cxn modelId="{B7421D82-D7F6-CC40-8896-C85F250A9075}" type="presOf" srcId="{4265D548-A45E-C842-ABAD-DAD4BF1642AD}" destId="{A0C186F9-FF5C-3D4E-8F35-7D742CABED6E}" srcOrd="1" destOrd="0" presId="urn:microsoft.com/office/officeart/2005/8/layout/radial1"/>
    <dgm:cxn modelId="{CE27B495-F4C9-E643-AF2A-CEB8E648E840}" type="presOf" srcId="{1B9FC9BD-F5C2-6044-BE45-DC9E21EF8298}" destId="{6CF50741-BD12-0D48-85C7-70F72BCA611B}" srcOrd="0" destOrd="0" presId="urn:microsoft.com/office/officeart/2005/8/layout/radial1"/>
    <dgm:cxn modelId="{3DA964B6-AA20-EF4D-A54B-2618D08B7417}" type="presOf" srcId="{D8D55778-AD68-224C-8CEF-66BC5D482340}" destId="{9C658DBC-9B66-1440-B2AD-2EF5E1D9F5FB}" srcOrd="0" destOrd="0" presId="urn:microsoft.com/office/officeart/2005/8/layout/radial1"/>
    <dgm:cxn modelId="{342617D8-9F9E-4F47-B566-A25EC5327806}" type="presOf" srcId="{85D78825-B7B7-4F43-B8DB-E11A547DDC5A}" destId="{E4BF4D41-CF7A-F44C-B30B-2F238E47CE01}" srcOrd="0" destOrd="0" presId="urn:microsoft.com/office/officeart/2005/8/layout/radial1"/>
    <dgm:cxn modelId="{42ABF0DA-BF69-8640-85FF-420D5742A04D}" type="presOf" srcId="{6AA8152A-980C-FD4C-B2E8-3DDA435E79F0}" destId="{5907FA14-96D4-D94A-8EBA-10A27156D47E}" srcOrd="0" destOrd="0" presId="urn:microsoft.com/office/officeart/2005/8/layout/radial1"/>
    <dgm:cxn modelId="{B41A1DEC-F501-CE47-998B-003C9A4C88B6}" type="presOf" srcId="{4265D548-A45E-C842-ABAD-DAD4BF1642AD}" destId="{C27DD661-3875-E649-9444-97057ABF57BD}" srcOrd="0" destOrd="0" presId="urn:microsoft.com/office/officeart/2005/8/layout/radial1"/>
    <dgm:cxn modelId="{4A2C43FB-055B-0A45-904A-0FA48F4C78CC}" type="presParOf" srcId="{362E6A41-3B0B-5D49-B221-94F8692374D1}" destId="{5907FA14-96D4-D94A-8EBA-10A27156D47E}" srcOrd="0" destOrd="0" presId="urn:microsoft.com/office/officeart/2005/8/layout/radial1"/>
    <dgm:cxn modelId="{23AA46AF-8A39-6F46-B9EE-D51D068E3946}" type="presParOf" srcId="{362E6A41-3B0B-5D49-B221-94F8692374D1}" destId="{C27DD661-3875-E649-9444-97057ABF57BD}" srcOrd="1" destOrd="0" presId="urn:microsoft.com/office/officeart/2005/8/layout/radial1"/>
    <dgm:cxn modelId="{98AF28D1-B6AB-E34C-94B6-6EF1BCE85E03}" type="presParOf" srcId="{C27DD661-3875-E649-9444-97057ABF57BD}" destId="{A0C186F9-FF5C-3D4E-8F35-7D742CABED6E}" srcOrd="0" destOrd="0" presId="urn:microsoft.com/office/officeart/2005/8/layout/radial1"/>
    <dgm:cxn modelId="{AC6D3179-D441-314D-8B61-7AE5121F1315}" type="presParOf" srcId="{362E6A41-3B0B-5D49-B221-94F8692374D1}" destId="{9C658DBC-9B66-1440-B2AD-2EF5E1D9F5FB}" srcOrd="2" destOrd="0" presId="urn:microsoft.com/office/officeart/2005/8/layout/radial1"/>
    <dgm:cxn modelId="{7BE11B01-76A0-D544-992A-E91604680B0D}" type="presParOf" srcId="{362E6A41-3B0B-5D49-B221-94F8692374D1}" destId="{B0438BA7-9E40-1644-AE6C-6235866FD33B}" srcOrd="3" destOrd="0" presId="urn:microsoft.com/office/officeart/2005/8/layout/radial1"/>
    <dgm:cxn modelId="{D7E61939-90B3-9B49-9E15-F198B026F983}" type="presParOf" srcId="{B0438BA7-9E40-1644-AE6C-6235866FD33B}" destId="{73FC19BB-3B92-B946-863A-CE14124D27BB}" srcOrd="0" destOrd="0" presId="urn:microsoft.com/office/officeart/2005/8/layout/radial1"/>
    <dgm:cxn modelId="{2C6D278B-8742-0741-AD7F-C66D1286FD4B}" type="presParOf" srcId="{362E6A41-3B0B-5D49-B221-94F8692374D1}" destId="{E4BF4D41-CF7A-F44C-B30B-2F238E47CE01}" srcOrd="4" destOrd="0" presId="urn:microsoft.com/office/officeart/2005/8/layout/radial1"/>
    <dgm:cxn modelId="{46858CD6-B7C1-884F-9E17-D13BDB607A9D}" type="presParOf" srcId="{362E6A41-3B0B-5D49-B221-94F8692374D1}" destId="{C3B76036-B83B-A249-9C98-00EE49DA89BF}" srcOrd="5" destOrd="0" presId="urn:microsoft.com/office/officeart/2005/8/layout/radial1"/>
    <dgm:cxn modelId="{58F16257-4D57-7A47-B9C2-543A25F9DCF1}" type="presParOf" srcId="{C3B76036-B83B-A249-9C98-00EE49DA89BF}" destId="{09751A8B-D859-994C-836B-8EBC2125E60A}" srcOrd="0" destOrd="0" presId="urn:microsoft.com/office/officeart/2005/8/layout/radial1"/>
    <dgm:cxn modelId="{A53B8715-8A7F-4F4C-9ACC-181CF0523C8C}" type="presParOf" srcId="{362E6A41-3B0B-5D49-B221-94F8692374D1}" destId="{AFA8A96F-4F04-E84B-8B04-B86D842C2B34}" srcOrd="6" destOrd="0" presId="urn:microsoft.com/office/officeart/2005/8/layout/radial1"/>
    <dgm:cxn modelId="{522FC580-0CB4-8A40-829E-0BCC281A2975}" type="presParOf" srcId="{362E6A41-3B0B-5D49-B221-94F8692374D1}" destId="{6CF50741-BD12-0D48-85C7-70F72BCA611B}" srcOrd="7" destOrd="0" presId="urn:microsoft.com/office/officeart/2005/8/layout/radial1"/>
    <dgm:cxn modelId="{E2F9239E-1AA3-BF4C-8A8B-2788F310F6C0}" type="presParOf" srcId="{6CF50741-BD12-0D48-85C7-70F72BCA611B}" destId="{495F4310-546A-FD49-A881-D140A6924D8F}" srcOrd="0" destOrd="0" presId="urn:microsoft.com/office/officeart/2005/8/layout/radial1"/>
    <dgm:cxn modelId="{450CED2C-01FE-B743-8254-485FE621ED6C}" type="presParOf" srcId="{362E6A41-3B0B-5D49-B221-94F8692374D1}" destId="{D103220A-237F-D24A-9EFB-9DA96CE1D478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63D1944-3AA9-A249-B318-2717B18C433E}" type="doc">
      <dgm:prSet loTypeId="urn:microsoft.com/office/officeart/2005/8/layout/cycle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4F2D392-3EB4-FE41-BAA0-EBA05422515F}">
      <dgm:prSet phldrT="[Texte]"/>
      <dgm:spPr/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Control</a:t>
          </a:r>
        </a:p>
      </dgm:t>
    </dgm:pt>
    <dgm:pt modelId="{FF1B4E77-232C-034B-9FC8-A34AD31D8143}" type="parTrans" cxnId="{B1549D64-9C39-184D-96F7-9F3AC2670049}">
      <dgm:prSet/>
      <dgm:spPr/>
      <dgm:t>
        <a:bodyPr/>
        <a:lstStyle/>
        <a:p>
          <a:endParaRPr lang="fr-FR"/>
        </a:p>
      </dgm:t>
    </dgm:pt>
    <dgm:pt modelId="{1DB78D2C-E95A-0C4C-B2B1-4F2677EF2466}" type="sibTrans" cxnId="{B1549D64-9C39-184D-96F7-9F3AC2670049}">
      <dgm:prSet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64752A6F-AC35-4C4B-96B2-D3F899BF02BC}">
      <dgm:prSet phldrT="[Texte]"/>
      <dgm:spPr/>
      <dgm:t>
        <a:bodyPr/>
        <a:lstStyle/>
        <a:p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ion</a:t>
          </a:r>
        </a:p>
      </dgm:t>
    </dgm:pt>
    <dgm:pt modelId="{65A7D1B9-3C7E-DF42-AE1F-C4A54E3C4BEE}" type="parTrans" cxnId="{9F18F361-1210-164A-911C-6C5BE1879756}">
      <dgm:prSet/>
      <dgm:spPr/>
      <dgm:t>
        <a:bodyPr/>
        <a:lstStyle/>
        <a:p>
          <a:endParaRPr lang="fr-FR"/>
        </a:p>
      </dgm:t>
    </dgm:pt>
    <dgm:pt modelId="{74E3B293-5909-0D4B-A543-865ADB55581F}" type="sibTrans" cxnId="{9F18F361-1210-164A-911C-6C5BE1879756}">
      <dgm:prSet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75000"/>
            </a:schemeClr>
          </a:solidFill>
        </a:ln>
      </dgm:spPr>
      <dgm:t>
        <a:bodyPr/>
        <a:lstStyle/>
        <a:p>
          <a:endParaRPr lang="fr-FR"/>
        </a:p>
      </dgm:t>
    </dgm:pt>
    <dgm:pt modelId="{413E0E54-C35E-2A47-B8EF-2509D39B6CA1}" type="pres">
      <dgm:prSet presAssocID="{363D1944-3AA9-A249-B318-2717B18C433E}" presName="cycle" presStyleCnt="0">
        <dgm:presLayoutVars>
          <dgm:dir/>
          <dgm:resizeHandles val="exact"/>
        </dgm:presLayoutVars>
      </dgm:prSet>
      <dgm:spPr/>
    </dgm:pt>
    <dgm:pt modelId="{54CF08EA-6761-8748-A7A2-26E41F8AE551}" type="pres">
      <dgm:prSet presAssocID="{24F2D392-3EB4-FE41-BAA0-EBA05422515F}" presName="dummy" presStyleCnt="0"/>
      <dgm:spPr/>
    </dgm:pt>
    <dgm:pt modelId="{A695E2AD-FC13-1C42-80C5-5FFC142CA7C4}" type="pres">
      <dgm:prSet presAssocID="{24F2D392-3EB4-FE41-BAA0-EBA05422515F}" presName="node" presStyleLbl="revTx" presStyleIdx="0" presStyleCnt="2">
        <dgm:presLayoutVars>
          <dgm:bulletEnabled val="1"/>
        </dgm:presLayoutVars>
      </dgm:prSet>
      <dgm:spPr/>
    </dgm:pt>
    <dgm:pt modelId="{055BB834-E3B0-104F-ACA1-4D66CF0865A0}" type="pres">
      <dgm:prSet presAssocID="{1DB78D2C-E95A-0C4C-B2B1-4F2677EF2466}" presName="sibTrans" presStyleLbl="node1" presStyleIdx="0" presStyleCnt="2"/>
      <dgm:spPr/>
    </dgm:pt>
    <dgm:pt modelId="{26CC1CB5-7FA6-A240-91E1-9BFB2BA8272F}" type="pres">
      <dgm:prSet presAssocID="{64752A6F-AC35-4C4B-96B2-D3F899BF02BC}" presName="dummy" presStyleCnt="0"/>
      <dgm:spPr/>
    </dgm:pt>
    <dgm:pt modelId="{97245290-2C4F-7945-95F8-4600E8000879}" type="pres">
      <dgm:prSet presAssocID="{64752A6F-AC35-4C4B-96B2-D3F899BF02BC}" presName="node" presStyleLbl="revTx" presStyleIdx="1" presStyleCnt="2">
        <dgm:presLayoutVars>
          <dgm:bulletEnabled val="1"/>
        </dgm:presLayoutVars>
      </dgm:prSet>
      <dgm:spPr/>
    </dgm:pt>
    <dgm:pt modelId="{733452D7-8B5B-2247-A44E-E8D42379B48F}" type="pres">
      <dgm:prSet presAssocID="{74E3B293-5909-0D4B-A543-865ADB55581F}" presName="sibTrans" presStyleLbl="node1" presStyleIdx="1" presStyleCnt="2"/>
      <dgm:spPr/>
    </dgm:pt>
  </dgm:ptLst>
  <dgm:cxnLst>
    <dgm:cxn modelId="{BEC83248-E81B-5E4D-918E-1EA72A16D5C2}" type="presOf" srcId="{24F2D392-3EB4-FE41-BAA0-EBA05422515F}" destId="{A695E2AD-FC13-1C42-80C5-5FFC142CA7C4}" srcOrd="0" destOrd="0" presId="urn:microsoft.com/office/officeart/2005/8/layout/cycle1"/>
    <dgm:cxn modelId="{CC9A4B49-4094-3241-B2E0-055930927001}" type="presOf" srcId="{74E3B293-5909-0D4B-A543-865ADB55581F}" destId="{733452D7-8B5B-2247-A44E-E8D42379B48F}" srcOrd="0" destOrd="0" presId="urn:microsoft.com/office/officeart/2005/8/layout/cycle1"/>
    <dgm:cxn modelId="{9F18F361-1210-164A-911C-6C5BE1879756}" srcId="{363D1944-3AA9-A249-B318-2717B18C433E}" destId="{64752A6F-AC35-4C4B-96B2-D3F899BF02BC}" srcOrd="1" destOrd="0" parTransId="{65A7D1B9-3C7E-DF42-AE1F-C4A54E3C4BEE}" sibTransId="{74E3B293-5909-0D4B-A543-865ADB55581F}"/>
    <dgm:cxn modelId="{B1549D64-9C39-184D-96F7-9F3AC2670049}" srcId="{363D1944-3AA9-A249-B318-2717B18C433E}" destId="{24F2D392-3EB4-FE41-BAA0-EBA05422515F}" srcOrd="0" destOrd="0" parTransId="{FF1B4E77-232C-034B-9FC8-A34AD31D8143}" sibTransId="{1DB78D2C-E95A-0C4C-B2B1-4F2677EF2466}"/>
    <dgm:cxn modelId="{88C4F4A4-ECFA-C540-9133-10B2C6EDC14D}" type="presOf" srcId="{64752A6F-AC35-4C4B-96B2-D3F899BF02BC}" destId="{97245290-2C4F-7945-95F8-4600E8000879}" srcOrd="0" destOrd="0" presId="urn:microsoft.com/office/officeart/2005/8/layout/cycle1"/>
    <dgm:cxn modelId="{2ED62BC9-499E-9D49-9C3B-DCC1A542FEC5}" type="presOf" srcId="{1DB78D2C-E95A-0C4C-B2B1-4F2677EF2466}" destId="{055BB834-E3B0-104F-ACA1-4D66CF0865A0}" srcOrd="0" destOrd="0" presId="urn:microsoft.com/office/officeart/2005/8/layout/cycle1"/>
    <dgm:cxn modelId="{07DA60F4-E37F-624B-A605-0C0645A91626}" type="presOf" srcId="{363D1944-3AA9-A249-B318-2717B18C433E}" destId="{413E0E54-C35E-2A47-B8EF-2509D39B6CA1}" srcOrd="0" destOrd="0" presId="urn:microsoft.com/office/officeart/2005/8/layout/cycle1"/>
    <dgm:cxn modelId="{94EB4FDC-22B2-8C4C-B9FF-4367FC076F06}" type="presParOf" srcId="{413E0E54-C35E-2A47-B8EF-2509D39B6CA1}" destId="{54CF08EA-6761-8748-A7A2-26E41F8AE551}" srcOrd="0" destOrd="0" presId="urn:microsoft.com/office/officeart/2005/8/layout/cycle1"/>
    <dgm:cxn modelId="{33F7F6E3-7CF6-1F4D-B95B-DEC7E76C3F7C}" type="presParOf" srcId="{413E0E54-C35E-2A47-B8EF-2509D39B6CA1}" destId="{A695E2AD-FC13-1C42-80C5-5FFC142CA7C4}" srcOrd="1" destOrd="0" presId="urn:microsoft.com/office/officeart/2005/8/layout/cycle1"/>
    <dgm:cxn modelId="{4FFF4572-32DD-0949-B48C-E6DEBD1362F1}" type="presParOf" srcId="{413E0E54-C35E-2A47-B8EF-2509D39B6CA1}" destId="{055BB834-E3B0-104F-ACA1-4D66CF0865A0}" srcOrd="2" destOrd="0" presId="urn:microsoft.com/office/officeart/2005/8/layout/cycle1"/>
    <dgm:cxn modelId="{C19CC6AC-A792-3C44-B6CA-0DA6D57D80BF}" type="presParOf" srcId="{413E0E54-C35E-2A47-B8EF-2509D39B6CA1}" destId="{26CC1CB5-7FA6-A240-91E1-9BFB2BA8272F}" srcOrd="3" destOrd="0" presId="urn:microsoft.com/office/officeart/2005/8/layout/cycle1"/>
    <dgm:cxn modelId="{B0C9918A-90E1-AD42-B653-FC91F127B033}" type="presParOf" srcId="{413E0E54-C35E-2A47-B8EF-2509D39B6CA1}" destId="{97245290-2C4F-7945-95F8-4600E8000879}" srcOrd="4" destOrd="0" presId="urn:microsoft.com/office/officeart/2005/8/layout/cycle1"/>
    <dgm:cxn modelId="{20FC62AE-F7EC-544C-AB03-9021E67442DB}" type="presParOf" srcId="{413E0E54-C35E-2A47-B8EF-2509D39B6CA1}" destId="{733452D7-8B5B-2247-A44E-E8D42379B48F}" srcOrd="5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9D01C32-7115-9B49-846F-70429470B8A3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EE6DB7AF-75BD-B047-AFBC-DDE00AB9F0D8}">
      <dgm:prSet phldrT="[Texte]"/>
      <dgm:spPr>
        <a:solidFill>
          <a:schemeClr val="accent6">
            <a:lumMod val="40000"/>
            <a:lumOff val="60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DULE CREATION</a:t>
          </a:r>
        </a:p>
        <a:p>
          <a:pPr>
            <a:buFont typeface="Arial" panose="020B0604020202020204" pitchFamily="34" charset="0"/>
            <a:buChar char="•"/>
          </a:pPr>
          <a:endParaRPr lang="fr-FR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sing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ython &amp;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ciPy</a:t>
          </a:r>
          <a:endParaRPr lang="fr-FR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cludes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commodating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unctions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(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itialization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SVD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uncature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etc…)</a:t>
          </a:r>
          <a:endParaRPr lang="fr-FR" dirty="0"/>
        </a:p>
      </dgm:t>
    </dgm:pt>
    <dgm:pt modelId="{59D48410-922D-4443-B16D-22B51257EB6E}" type="parTrans" cxnId="{61391C89-8CE3-8B4B-9CA4-1E3D2C9AEB58}">
      <dgm:prSet/>
      <dgm:spPr/>
      <dgm:t>
        <a:bodyPr/>
        <a:lstStyle/>
        <a:p>
          <a:endParaRPr lang="fr-FR"/>
        </a:p>
      </dgm:t>
    </dgm:pt>
    <dgm:pt modelId="{CBA1CE99-0F64-3C4B-8745-6C0CB03EE6DB}" type="sibTrans" cxnId="{61391C89-8CE3-8B4B-9CA4-1E3D2C9AEB58}">
      <dgm:prSet/>
      <dgm:spPr/>
      <dgm:t>
        <a:bodyPr/>
        <a:lstStyle/>
        <a:p>
          <a:endParaRPr lang="fr-FR"/>
        </a:p>
      </dgm:t>
    </dgm:pt>
    <dgm:pt modelId="{D9719621-A78A-2C41-9DB7-24BBA65859C7}">
      <dgm:prSet phldrT="[Texte]"/>
      <dgm:spPr>
        <a:solidFill>
          <a:schemeClr val="accent6">
            <a:lumMod val="40000"/>
            <a:lumOff val="60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MPLEMENTATION ON THE TESTBED</a:t>
          </a:r>
        </a:p>
        <a:p>
          <a:pPr>
            <a:buFont typeface="Arial" panose="020B0604020202020204" pitchFamily="34" charset="0"/>
            <a:buChar char="•"/>
          </a:pPr>
          <a:endParaRPr lang="fr-FR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sing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Version Control</a:t>
          </a:r>
        </a:p>
        <a:p>
          <a:pPr>
            <a:buFont typeface="Arial" panose="020B0604020202020204" pitchFamily="34" charset="0"/>
            <a:buChar char="•"/>
          </a:pP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Can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irectly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all the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unctions</a:t>
          </a:r>
          <a:r>
            <a:rPr lang="fr-FR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the main </a:t>
          </a:r>
          <a:r>
            <a:rPr lang="fr-F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ranch</a:t>
          </a:r>
          <a:endParaRPr lang="fr-FR" dirty="0"/>
        </a:p>
      </dgm:t>
    </dgm:pt>
    <dgm:pt modelId="{2C921E1E-7CC7-994C-BDE1-67E2DDA4703E}" type="parTrans" cxnId="{29D29B59-6345-0C48-A58E-368A0A4FE5EF}">
      <dgm:prSet/>
      <dgm:spPr/>
      <dgm:t>
        <a:bodyPr/>
        <a:lstStyle/>
        <a:p>
          <a:endParaRPr lang="fr-FR"/>
        </a:p>
      </dgm:t>
    </dgm:pt>
    <dgm:pt modelId="{54DE1441-A7E5-F94C-89DE-EEC529874605}" type="sibTrans" cxnId="{29D29B59-6345-0C48-A58E-368A0A4FE5EF}">
      <dgm:prSet/>
      <dgm:spPr/>
      <dgm:t>
        <a:bodyPr/>
        <a:lstStyle/>
        <a:p>
          <a:endParaRPr lang="fr-FR"/>
        </a:p>
      </dgm:t>
    </dgm:pt>
    <dgm:pt modelId="{659A2304-2867-B640-95E3-5D7D8EBA7B11}" type="pres">
      <dgm:prSet presAssocID="{29D01C32-7115-9B49-846F-70429470B8A3}" presName="Name0" presStyleCnt="0">
        <dgm:presLayoutVars>
          <dgm:dir/>
          <dgm:animLvl val="lvl"/>
          <dgm:resizeHandles val="exact"/>
        </dgm:presLayoutVars>
      </dgm:prSet>
      <dgm:spPr/>
    </dgm:pt>
    <dgm:pt modelId="{48CB4571-B1B8-5640-8934-C189DFA5344F}" type="pres">
      <dgm:prSet presAssocID="{EE6DB7AF-75BD-B047-AFBC-DDE00AB9F0D8}" presName="parTxOnly" presStyleLbl="node1" presStyleIdx="0" presStyleCnt="2" custLinFactX="-7844" custLinFactNeighborX="-100000" custLinFactNeighborY="1275">
        <dgm:presLayoutVars>
          <dgm:chMax val="0"/>
          <dgm:chPref val="0"/>
          <dgm:bulletEnabled val="1"/>
        </dgm:presLayoutVars>
      </dgm:prSet>
      <dgm:spPr/>
    </dgm:pt>
    <dgm:pt modelId="{6CD7DF5F-0ADC-5348-B5CE-09078D8AC81B}" type="pres">
      <dgm:prSet presAssocID="{CBA1CE99-0F64-3C4B-8745-6C0CB03EE6DB}" presName="parTxOnlySpace" presStyleCnt="0"/>
      <dgm:spPr/>
    </dgm:pt>
    <dgm:pt modelId="{0AB1165E-BC8B-D54C-9E35-D7E8E7BB97EA}" type="pres">
      <dgm:prSet presAssocID="{D9719621-A78A-2C41-9DB7-24BBA65859C7}" presName="parTxOnly" presStyleLbl="node1" presStyleIdx="1" presStyleCnt="2" custLinFactNeighborX="65155" custLinFactNeighborY="-5649">
        <dgm:presLayoutVars>
          <dgm:chMax val="0"/>
          <dgm:chPref val="0"/>
          <dgm:bulletEnabled val="1"/>
        </dgm:presLayoutVars>
      </dgm:prSet>
      <dgm:spPr/>
    </dgm:pt>
  </dgm:ptLst>
  <dgm:cxnLst>
    <dgm:cxn modelId="{39D3920D-CF42-804B-94B3-9CEC4F5E82FF}" type="presOf" srcId="{D9719621-A78A-2C41-9DB7-24BBA65859C7}" destId="{0AB1165E-BC8B-D54C-9E35-D7E8E7BB97EA}" srcOrd="0" destOrd="0" presId="urn:microsoft.com/office/officeart/2005/8/layout/chevron1"/>
    <dgm:cxn modelId="{BE673740-9214-E94F-82A1-E50DBB11EE37}" type="presOf" srcId="{EE6DB7AF-75BD-B047-AFBC-DDE00AB9F0D8}" destId="{48CB4571-B1B8-5640-8934-C189DFA5344F}" srcOrd="0" destOrd="0" presId="urn:microsoft.com/office/officeart/2005/8/layout/chevron1"/>
    <dgm:cxn modelId="{29D29B59-6345-0C48-A58E-368A0A4FE5EF}" srcId="{29D01C32-7115-9B49-846F-70429470B8A3}" destId="{D9719621-A78A-2C41-9DB7-24BBA65859C7}" srcOrd="1" destOrd="0" parTransId="{2C921E1E-7CC7-994C-BDE1-67E2DDA4703E}" sibTransId="{54DE1441-A7E5-F94C-89DE-EEC529874605}"/>
    <dgm:cxn modelId="{61391C89-8CE3-8B4B-9CA4-1E3D2C9AEB58}" srcId="{29D01C32-7115-9B49-846F-70429470B8A3}" destId="{EE6DB7AF-75BD-B047-AFBC-DDE00AB9F0D8}" srcOrd="0" destOrd="0" parTransId="{59D48410-922D-4443-B16D-22B51257EB6E}" sibTransId="{CBA1CE99-0F64-3C4B-8745-6C0CB03EE6DB}"/>
    <dgm:cxn modelId="{A005EDC2-C702-5945-9402-15B2436BDD1A}" type="presOf" srcId="{29D01C32-7115-9B49-846F-70429470B8A3}" destId="{659A2304-2867-B640-95E3-5D7D8EBA7B11}" srcOrd="0" destOrd="0" presId="urn:microsoft.com/office/officeart/2005/8/layout/chevron1"/>
    <dgm:cxn modelId="{269B247F-354D-374E-B2E2-AE6AF3D5BA9D}" type="presParOf" srcId="{659A2304-2867-B640-95E3-5D7D8EBA7B11}" destId="{48CB4571-B1B8-5640-8934-C189DFA5344F}" srcOrd="0" destOrd="0" presId="urn:microsoft.com/office/officeart/2005/8/layout/chevron1"/>
    <dgm:cxn modelId="{A686B5D6-BA78-F34F-B5B5-BB8AFA3DCC04}" type="presParOf" srcId="{659A2304-2867-B640-95E3-5D7D8EBA7B11}" destId="{6CD7DF5F-0ADC-5348-B5CE-09078D8AC81B}" srcOrd="1" destOrd="0" presId="urn:microsoft.com/office/officeart/2005/8/layout/chevron1"/>
    <dgm:cxn modelId="{77E4F0E2-0949-3E40-A5BC-524E81AD73F4}" type="presParOf" srcId="{659A2304-2867-B640-95E3-5D7D8EBA7B11}" destId="{0AB1165E-BC8B-D54C-9E35-D7E8E7BB97EA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1329A25-A6EE-3747-BACB-D419DBD70ED7}" type="doc">
      <dgm:prSet loTypeId="urn:microsoft.com/office/officeart/2005/8/layout/vProcess5" loCatId="" qsTypeId="urn:microsoft.com/office/officeart/2005/8/quickstyle/simple1" qsCatId="simple" csTypeId="urn:microsoft.com/office/officeart/2005/8/colors/accent5_2" csCatId="accent5" phldr="1"/>
      <dgm:spPr/>
    </dgm:pt>
    <dgm:pt modelId="{F0F72E75-BD1D-6542-BCFA-0FD3FEEC5A8C}">
      <dgm:prSet phldrT="[Texte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UNDERSTOOD</a:t>
          </a:r>
        </a:p>
      </dgm:t>
    </dgm:pt>
    <dgm:pt modelId="{8AF32EC1-2FAD-2D4A-BB79-A802450B4E81}" type="parTrans" cxnId="{15DBA954-8071-6741-A58A-8DE736BB1E08}">
      <dgm:prSet/>
      <dgm:spPr/>
      <dgm:t>
        <a:bodyPr/>
        <a:lstStyle/>
        <a:p>
          <a:endParaRPr lang="fr-FR"/>
        </a:p>
      </dgm:t>
    </dgm:pt>
    <dgm:pt modelId="{5C17B204-2DBD-AE4F-9AD6-37AA9AD0F28A}" type="sibTrans" cxnId="{15DBA954-8071-6741-A58A-8DE736BB1E08}">
      <dgm:prSet/>
      <dgm:spPr/>
      <dgm:t>
        <a:bodyPr/>
        <a:lstStyle/>
        <a:p>
          <a:endParaRPr lang="fr-FR"/>
        </a:p>
      </dgm:t>
    </dgm:pt>
    <dgm:pt modelId="{822942E4-A860-1247-9751-49AAA976F35A}">
      <dgm:prSet phldrT="[Texte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VALIDATED</a:t>
          </a:r>
        </a:p>
      </dgm:t>
    </dgm:pt>
    <dgm:pt modelId="{F233011E-1DA0-7241-B553-2B688247D06F}" type="parTrans" cxnId="{D5F96D28-D867-A149-973D-EFD941572332}">
      <dgm:prSet/>
      <dgm:spPr/>
      <dgm:t>
        <a:bodyPr/>
        <a:lstStyle/>
        <a:p>
          <a:endParaRPr lang="fr-FR"/>
        </a:p>
      </dgm:t>
    </dgm:pt>
    <dgm:pt modelId="{945746F4-6873-E243-AD06-0D114208DFD2}" type="sibTrans" cxnId="{D5F96D28-D867-A149-973D-EFD941572332}">
      <dgm:prSet/>
      <dgm:spPr/>
      <dgm:t>
        <a:bodyPr/>
        <a:lstStyle/>
        <a:p>
          <a:endParaRPr lang="fr-FR"/>
        </a:p>
      </dgm:t>
    </dgm:pt>
    <dgm:pt modelId="{0F6183F7-2AC6-424D-A625-1D3C812326FD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IMPLEMENTED</a:t>
          </a:r>
        </a:p>
      </dgm:t>
    </dgm:pt>
    <dgm:pt modelId="{3BE7FA49-EFF4-E94B-8982-07C9E820560E}" type="parTrans" cxnId="{FA27A593-41B2-A142-B661-F250C4F0EB62}">
      <dgm:prSet/>
      <dgm:spPr/>
      <dgm:t>
        <a:bodyPr/>
        <a:lstStyle/>
        <a:p>
          <a:endParaRPr lang="fr-FR"/>
        </a:p>
      </dgm:t>
    </dgm:pt>
    <dgm:pt modelId="{D421FF7E-642E-4640-9094-49853E517522}" type="sibTrans" cxnId="{FA27A593-41B2-A142-B661-F250C4F0EB62}">
      <dgm:prSet/>
      <dgm:spPr/>
      <dgm:t>
        <a:bodyPr/>
        <a:lstStyle/>
        <a:p>
          <a:endParaRPr lang="fr-FR"/>
        </a:p>
      </dgm:t>
    </dgm:pt>
    <dgm:pt modelId="{3BF0084E-925B-A247-A09C-3DC237A6DFF3}">
      <dgm:prSet/>
      <dgm:spPr>
        <a:solidFill>
          <a:schemeClr val="accent3">
            <a:lumMod val="75000"/>
            <a:alpha val="73000"/>
          </a:schemeClr>
        </a:solidFill>
        <a:ln>
          <a:solidFill>
            <a:schemeClr val="accent3">
              <a:lumMod val="50000"/>
            </a:schemeClr>
          </a:solidFill>
          <a:prstDash val="sysDash"/>
        </a:ln>
      </dgm:spPr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FINE-TUNED</a:t>
          </a:r>
        </a:p>
      </dgm:t>
    </dgm:pt>
    <dgm:pt modelId="{D81397C8-C062-D348-AF74-56A71F19F63B}" type="parTrans" cxnId="{E5A2268D-C5B1-4F4E-B61C-A22F60FA5B45}">
      <dgm:prSet/>
      <dgm:spPr/>
      <dgm:t>
        <a:bodyPr/>
        <a:lstStyle/>
        <a:p>
          <a:endParaRPr lang="fr-FR"/>
        </a:p>
      </dgm:t>
    </dgm:pt>
    <dgm:pt modelId="{3038F8CE-3E0A-E74D-BD68-74191C231292}" type="sibTrans" cxnId="{E5A2268D-C5B1-4F4E-B61C-A22F60FA5B45}">
      <dgm:prSet/>
      <dgm:spPr/>
      <dgm:t>
        <a:bodyPr/>
        <a:lstStyle/>
        <a:p>
          <a:endParaRPr lang="fr-FR"/>
        </a:p>
      </dgm:t>
    </dgm:pt>
    <dgm:pt modelId="{081135D7-ECAD-084E-8F03-22F733440D48}" type="pres">
      <dgm:prSet presAssocID="{C1329A25-A6EE-3747-BACB-D419DBD70ED7}" presName="outerComposite" presStyleCnt="0">
        <dgm:presLayoutVars>
          <dgm:chMax val="5"/>
          <dgm:dir/>
          <dgm:resizeHandles val="exact"/>
        </dgm:presLayoutVars>
      </dgm:prSet>
      <dgm:spPr/>
    </dgm:pt>
    <dgm:pt modelId="{2DC335C6-1E1E-D446-A4ED-786A8EF29600}" type="pres">
      <dgm:prSet presAssocID="{C1329A25-A6EE-3747-BACB-D419DBD70ED7}" presName="dummyMaxCanvas" presStyleCnt="0">
        <dgm:presLayoutVars/>
      </dgm:prSet>
      <dgm:spPr/>
    </dgm:pt>
    <dgm:pt modelId="{3AB0D0D7-E055-4742-AEDB-965F15627B40}" type="pres">
      <dgm:prSet presAssocID="{C1329A25-A6EE-3747-BACB-D419DBD70ED7}" presName="FourNodes_1" presStyleLbl="node1" presStyleIdx="0" presStyleCnt="4">
        <dgm:presLayoutVars>
          <dgm:bulletEnabled val="1"/>
        </dgm:presLayoutVars>
      </dgm:prSet>
      <dgm:spPr/>
    </dgm:pt>
    <dgm:pt modelId="{7BDE0E46-F866-1E47-B7F4-811B0D49730F}" type="pres">
      <dgm:prSet presAssocID="{C1329A25-A6EE-3747-BACB-D419DBD70ED7}" presName="FourNodes_2" presStyleLbl="node1" presStyleIdx="1" presStyleCnt="4">
        <dgm:presLayoutVars>
          <dgm:bulletEnabled val="1"/>
        </dgm:presLayoutVars>
      </dgm:prSet>
      <dgm:spPr/>
    </dgm:pt>
    <dgm:pt modelId="{8984801E-415E-BF47-B7B2-0EE43385BF33}" type="pres">
      <dgm:prSet presAssocID="{C1329A25-A6EE-3747-BACB-D419DBD70ED7}" presName="FourNodes_3" presStyleLbl="node1" presStyleIdx="2" presStyleCnt="4">
        <dgm:presLayoutVars>
          <dgm:bulletEnabled val="1"/>
        </dgm:presLayoutVars>
      </dgm:prSet>
      <dgm:spPr/>
    </dgm:pt>
    <dgm:pt modelId="{1B435301-9FAF-7446-8AA1-6AF94B8E1841}" type="pres">
      <dgm:prSet presAssocID="{C1329A25-A6EE-3747-BACB-D419DBD70ED7}" presName="FourNodes_4" presStyleLbl="node1" presStyleIdx="3" presStyleCnt="4">
        <dgm:presLayoutVars>
          <dgm:bulletEnabled val="1"/>
        </dgm:presLayoutVars>
      </dgm:prSet>
      <dgm:spPr/>
    </dgm:pt>
    <dgm:pt modelId="{E22683F9-73FF-2743-863C-A01ACADF747E}" type="pres">
      <dgm:prSet presAssocID="{C1329A25-A6EE-3747-BACB-D419DBD70ED7}" presName="FourConn_1-2" presStyleLbl="fgAccFollowNode1" presStyleIdx="0" presStyleCnt="3">
        <dgm:presLayoutVars>
          <dgm:bulletEnabled val="1"/>
        </dgm:presLayoutVars>
      </dgm:prSet>
      <dgm:spPr/>
    </dgm:pt>
    <dgm:pt modelId="{DD96BDB6-1057-244E-9CC0-20173E1D0F81}" type="pres">
      <dgm:prSet presAssocID="{C1329A25-A6EE-3747-BACB-D419DBD70ED7}" presName="FourConn_2-3" presStyleLbl="fgAccFollowNode1" presStyleIdx="1" presStyleCnt="3">
        <dgm:presLayoutVars>
          <dgm:bulletEnabled val="1"/>
        </dgm:presLayoutVars>
      </dgm:prSet>
      <dgm:spPr/>
    </dgm:pt>
    <dgm:pt modelId="{49CCD31D-6B2C-6A4B-8B30-5CD8A6720CDC}" type="pres">
      <dgm:prSet presAssocID="{C1329A25-A6EE-3747-BACB-D419DBD70ED7}" presName="FourConn_3-4" presStyleLbl="fgAccFollowNode1" presStyleIdx="2" presStyleCnt="3">
        <dgm:presLayoutVars>
          <dgm:bulletEnabled val="1"/>
        </dgm:presLayoutVars>
      </dgm:prSet>
      <dgm:spPr/>
    </dgm:pt>
    <dgm:pt modelId="{DEF89328-4606-A145-BDED-3761F92D4195}" type="pres">
      <dgm:prSet presAssocID="{C1329A25-A6EE-3747-BACB-D419DBD70ED7}" presName="FourNodes_1_text" presStyleLbl="node1" presStyleIdx="3" presStyleCnt="4">
        <dgm:presLayoutVars>
          <dgm:bulletEnabled val="1"/>
        </dgm:presLayoutVars>
      </dgm:prSet>
      <dgm:spPr/>
    </dgm:pt>
    <dgm:pt modelId="{9EE1C92A-E374-F149-9639-259435EF3D5F}" type="pres">
      <dgm:prSet presAssocID="{C1329A25-A6EE-3747-BACB-D419DBD70ED7}" presName="FourNodes_2_text" presStyleLbl="node1" presStyleIdx="3" presStyleCnt="4">
        <dgm:presLayoutVars>
          <dgm:bulletEnabled val="1"/>
        </dgm:presLayoutVars>
      </dgm:prSet>
      <dgm:spPr/>
    </dgm:pt>
    <dgm:pt modelId="{C1AE929E-ACDF-D14E-87BA-CED663B3F97F}" type="pres">
      <dgm:prSet presAssocID="{C1329A25-A6EE-3747-BACB-D419DBD70ED7}" presName="FourNodes_3_text" presStyleLbl="node1" presStyleIdx="3" presStyleCnt="4">
        <dgm:presLayoutVars>
          <dgm:bulletEnabled val="1"/>
        </dgm:presLayoutVars>
      </dgm:prSet>
      <dgm:spPr/>
    </dgm:pt>
    <dgm:pt modelId="{2A754425-E654-2241-B39E-DEDC793EC264}" type="pres">
      <dgm:prSet presAssocID="{C1329A25-A6EE-3747-BACB-D419DBD70ED7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3FD3CE0C-C0A8-2A41-A220-9387812AC4B7}" type="presOf" srcId="{3BF0084E-925B-A247-A09C-3DC237A6DFF3}" destId="{1B435301-9FAF-7446-8AA1-6AF94B8E1841}" srcOrd="0" destOrd="0" presId="urn:microsoft.com/office/officeart/2005/8/layout/vProcess5"/>
    <dgm:cxn modelId="{D5F96D28-D867-A149-973D-EFD941572332}" srcId="{C1329A25-A6EE-3747-BACB-D419DBD70ED7}" destId="{822942E4-A860-1247-9751-49AAA976F35A}" srcOrd="1" destOrd="0" parTransId="{F233011E-1DA0-7241-B553-2B688247D06F}" sibTransId="{945746F4-6873-E243-AD06-0D114208DFD2}"/>
    <dgm:cxn modelId="{D7D2E732-844F-2A4F-BE4F-F9F4E913FC15}" type="presOf" srcId="{5C17B204-2DBD-AE4F-9AD6-37AA9AD0F28A}" destId="{E22683F9-73FF-2743-863C-A01ACADF747E}" srcOrd="0" destOrd="0" presId="urn:microsoft.com/office/officeart/2005/8/layout/vProcess5"/>
    <dgm:cxn modelId="{D2B56E53-E87F-0A4B-8BAD-9307E4461AF0}" type="presOf" srcId="{0F6183F7-2AC6-424D-A625-1D3C812326FD}" destId="{8984801E-415E-BF47-B7B2-0EE43385BF33}" srcOrd="0" destOrd="0" presId="urn:microsoft.com/office/officeart/2005/8/layout/vProcess5"/>
    <dgm:cxn modelId="{15DBA954-8071-6741-A58A-8DE736BB1E08}" srcId="{C1329A25-A6EE-3747-BACB-D419DBD70ED7}" destId="{F0F72E75-BD1D-6542-BCFA-0FD3FEEC5A8C}" srcOrd="0" destOrd="0" parTransId="{8AF32EC1-2FAD-2D4A-BB79-A802450B4E81}" sibTransId="{5C17B204-2DBD-AE4F-9AD6-37AA9AD0F28A}"/>
    <dgm:cxn modelId="{18CF575B-8D52-7140-BFD4-AA1A203B9D6C}" type="presOf" srcId="{822942E4-A860-1247-9751-49AAA976F35A}" destId="{7BDE0E46-F866-1E47-B7F4-811B0D49730F}" srcOrd="0" destOrd="0" presId="urn:microsoft.com/office/officeart/2005/8/layout/vProcess5"/>
    <dgm:cxn modelId="{7EBD0163-6526-FA43-9537-D1579F229544}" type="presOf" srcId="{F0F72E75-BD1D-6542-BCFA-0FD3FEEC5A8C}" destId="{3AB0D0D7-E055-4742-AEDB-965F15627B40}" srcOrd="0" destOrd="0" presId="urn:microsoft.com/office/officeart/2005/8/layout/vProcess5"/>
    <dgm:cxn modelId="{24DC9D79-A44B-2747-940A-FFD509AEBA0B}" type="presOf" srcId="{3BF0084E-925B-A247-A09C-3DC237A6DFF3}" destId="{2A754425-E654-2241-B39E-DEDC793EC264}" srcOrd="1" destOrd="0" presId="urn:microsoft.com/office/officeart/2005/8/layout/vProcess5"/>
    <dgm:cxn modelId="{22FC4686-7C1F-DF47-B752-F3AD7B1BC521}" type="presOf" srcId="{822942E4-A860-1247-9751-49AAA976F35A}" destId="{9EE1C92A-E374-F149-9639-259435EF3D5F}" srcOrd="1" destOrd="0" presId="urn:microsoft.com/office/officeart/2005/8/layout/vProcess5"/>
    <dgm:cxn modelId="{E5A2268D-C5B1-4F4E-B61C-A22F60FA5B45}" srcId="{C1329A25-A6EE-3747-BACB-D419DBD70ED7}" destId="{3BF0084E-925B-A247-A09C-3DC237A6DFF3}" srcOrd="3" destOrd="0" parTransId="{D81397C8-C062-D348-AF74-56A71F19F63B}" sibTransId="{3038F8CE-3E0A-E74D-BD68-74191C231292}"/>
    <dgm:cxn modelId="{FA27A593-41B2-A142-B661-F250C4F0EB62}" srcId="{C1329A25-A6EE-3747-BACB-D419DBD70ED7}" destId="{0F6183F7-2AC6-424D-A625-1D3C812326FD}" srcOrd="2" destOrd="0" parTransId="{3BE7FA49-EFF4-E94B-8982-07C9E820560E}" sibTransId="{D421FF7E-642E-4640-9094-49853E517522}"/>
    <dgm:cxn modelId="{EA5797B3-3E0C-D34D-A3DF-2A1BECCB63E8}" type="presOf" srcId="{945746F4-6873-E243-AD06-0D114208DFD2}" destId="{DD96BDB6-1057-244E-9CC0-20173E1D0F81}" srcOrd="0" destOrd="0" presId="urn:microsoft.com/office/officeart/2005/8/layout/vProcess5"/>
    <dgm:cxn modelId="{8AB69AB9-327E-6640-A49F-BF3AD8698892}" type="presOf" srcId="{D421FF7E-642E-4640-9094-49853E517522}" destId="{49CCD31D-6B2C-6A4B-8B30-5CD8A6720CDC}" srcOrd="0" destOrd="0" presId="urn:microsoft.com/office/officeart/2005/8/layout/vProcess5"/>
    <dgm:cxn modelId="{BBD162BB-816A-B140-B4CB-20D48D068D4F}" type="presOf" srcId="{C1329A25-A6EE-3747-BACB-D419DBD70ED7}" destId="{081135D7-ECAD-084E-8F03-22F733440D48}" srcOrd="0" destOrd="0" presId="urn:microsoft.com/office/officeart/2005/8/layout/vProcess5"/>
    <dgm:cxn modelId="{512652D7-F30F-D04D-BED0-0AF5BFECB58D}" type="presOf" srcId="{F0F72E75-BD1D-6542-BCFA-0FD3FEEC5A8C}" destId="{DEF89328-4606-A145-BDED-3761F92D4195}" srcOrd="1" destOrd="0" presId="urn:microsoft.com/office/officeart/2005/8/layout/vProcess5"/>
    <dgm:cxn modelId="{890CEEEC-C023-4B43-8932-806BF94AB648}" type="presOf" srcId="{0F6183F7-2AC6-424D-A625-1D3C812326FD}" destId="{C1AE929E-ACDF-D14E-87BA-CED663B3F97F}" srcOrd="1" destOrd="0" presId="urn:microsoft.com/office/officeart/2005/8/layout/vProcess5"/>
    <dgm:cxn modelId="{C4C94F73-2807-2140-A6F7-376AE0F0A10F}" type="presParOf" srcId="{081135D7-ECAD-084E-8F03-22F733440D48}" destId="{2DC335C6-1E1E-D446-A4ED-786A8EF29600}" srcOrd="0" destOrd="0" presId="urn:microsoft.com/office/officeart/2005/8/layout/vProcess5"/>
    <dgm:cxn modelId="{26112F31-38FB-1C49-BACA-15275DF290F1}" type="presParOf" srcId="{081135D7-ECAD-084E-8F03-22F733440D48}" destId="{3AB0D0D7-E055-4742-AEDB-965F15627B40}" srcOrd="1" destOrd="0" presId="urn:microsoft.com/office/officeart/2005/8/layout/vProcess5"/>
    <dgm:cxn modelId="{AFA845BD-7EB6-DA46-9ECE-6FE276CE45ED}" type="presParOf" srcId="{081135D7-ECAD-084E-8F03-22F733440D48}" destId="{7BDE0E46-F866-1E47-B7F4-811B0D49730F}" srcOrd="2" destOrd="0" presId="urn:microsoft.com/office/officeart/2005/8/layout/vProcess5"/>
    <dgm:cxn modelId="{2D338AA0-B982-A14E-9E14-2067979F538F}" type="presParOf" srcId="{081135D7-ECAD-084E-8F03-22F733440D48}" destId="{8984801E-415E-BF47-B7B2-0EE43385BF33}" srcOrd="3" destOrd="0" presId="urn:microsoft.com/office/officeart/2005/8/layout/vProcess5"/>
    <dgm:cxn modelId="{51A01AFE-43CC-A344-80C7-9DA54530E968}" type="presParOf" srcId="{081135D7-ECAD-084E-8F03-22F733440D48}" destId="{1B435301-9FAF-7446-8AA1-6AF94B8E1841}" srcOrd="4" destOrd="0" presId="urn:microsoft.com/office/officeart/2005/8/layout/vProcess5"/>
    <dgm:cxn modelId="{760F113C-B1AB-B142-AC67-3ECA4AF9BC00}" type="presParOf" srcId="{081135D7-ECAD-084E-8F03-22F733440D48}" destId="{E22683F9-73FF-2743-863C-A01ACADF747E}" srcOrd="5" destOrd="0" presId="urn:microsoft.com/office/officeart/2005/8/layout/vProcess5"/>
    <dgm:cxn modelId="{96B7BBAD-C869-064F-BF59-35CAC5C33738}" type="presParOf" srcId="{081135D7-ECAD-084E-8F03-22F733440D48}" destId="{DD96BDB6-1057-244E-9CC0-20173E1D0F81}" srcOrd="6" destOrd="0" presId="urn:microsoft.com/office/officeart/2005/8/layout/vProcess5"/>
    <dgm:cxn modelId="{637F03BD-7461-C740-A1DA-271D2E5018A7}" type="presParOf" srcId="{081135D7-ECAD-084E-8F03-22F733440D48}" destId="{49CCD31D-6B2C-6A4B-8B30-5CD8A6720CDC}" srcOrd="7" destOrd="0" presId="urn:microsoft.com/office/officeart/2005/8/layout/vProcess5"/>
    <dgm:cxn modelId="{9615737F-8EA9-A544-8D7F-2F63B2F61B0E}" type="presParOf" srcId="{081135D7-ECAD-084E-8F03-22F733440D48}" destId="{DEF89328-4606-A145-BDED-3761F92D4195}" srcOrd="8" destOrd="0" presId="urn:microsoft.com/office/officeart/2005/8/layout/vProcess5"/>
    <dgm:cxn modelId="{68C86D66-ECD6-7D41-8B38-31DB2EA65983}" type="presParOf" srcId="{081135D7-ECAD-084E-8F03-22F733440D48}" destId="{9EE1C92A-E374-F149-9639-259435EF3D5F}" srcOrd="9" destOrd="0" presId="urn:microsoft.com/office/officeart/2005/8/layout/vProcess5"/>
    <dgm:cxn modelId="{198C0543-E739-6845-8C54-3E7F71C6698C}" type="presParOf" srcId="{081135D7-ECAD-084E-8F03-22F733440D48}" destId="{C1AE929E-ACDF-D14E-87BA-CED663B3F97F}" srcOrd="10" destOrd="0" presId="urn:microsoft.com/office/officeart/2005/8/layout/vProcess5"/>
    <dgm:cxn modelId="{452A2ADB-1E6E-B14C-A3EE-F620DFF45EF0}" type="presParOf" srcId="{081135D7-ECAD-084E-8F03-22F733440D48}" destId="{2A754425-E654-2241-B39E-DEDC793EC264}" srcOrd="11" destOrd="0" presId="urn:microsoft.com/office/officeart/2005/8/layout/vProcess5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F29B170-2616-9641-85ED-83B74CA14E5B}" type="doc">
      <dgm:prSet loTypeId="urn:microsoft.com/office/officeart/2005/8/layout/hierarchy2" loCatId="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fr-FR"/>
        </a:p>
      </dgm:t>
    </dgm:pt>
    <dgm:pt modelId="{B737FB22-1D00-EB4B-9407-0EE7B038C2EB}">
      <dgm:prSet phldrT="[Texte]"/>
      <dgm:spPr/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tradeoff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between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code architecture and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optics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architecture</a:t>
          </a:r>
        </a:p>
      </dgm:t>
    </dgm:pt>
    <dgm:pt modelId="{87B8B2A6-4C15-C14B-AA1B-85977531B86C}" type="parTrans" cxnId="{0E390A8F-B511-7841-BEBE-735277153809}">
      <dgm:prSet/>
      <dgm:spPr/>
      <dgm:t>
        <a:bodyPr/>
        <a:lstStyle/>
        <a:p>
          <a:endParaRPr lang="fr-FR"/>
        </a:p>
      </dgm:t>
    </dgm:pt>
    <dgm:pt modelId="{E765AA77-DBC6-7A41-A956-A21B839C831D}" type="sibTrans" cxnId="{0E390A8F-B511-7841-BEBE-735277153809}">
      <dgm:prSet/>
      <dgm:spPr/>
      <dgm:t>
        <a:bodyPr/>
        <a:lstStyle/>
        <a:p>
          <a:endParaRPr lang="fr-FR"/>
        </a:p>
      </dgm:t>
    </dgm:pt>
    <dgm:pt modelId="{06453FA8-DF86-FA4B-86A9-767073AA24B0}">
      <dgm:prSet phldrT="[Texte]"/>
      <dgm:spPr/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Determine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i="1" dirty="0">
              <a:latin typeface="Arial" panose="020B0604020202020204" pitchFamily="34" charset="0"/>
              <a:cs typeface="Arial" panose="020B0604020202020204" pitchFamily="34" charset="0"/>
            </a:rPr>
            <a:t>good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filter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parameter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B37FE8-5EC9-F440-972B-4F1D37A002CA}" type="parTrans" cxnId="{A7BDB28E-67BC-8C44-8681-4E64018BB51A}">
      <dgm:prSet/>
      <dgm:spPr/>
      <dgm:t>
        <a:bodyPr/>
        <a:lstStyle/>
        <a:p>
          <a:endParaRPr lang="fr-FR"/>
        </a:p>
      </dgm:t>
    </dgm:pt>
    <dgm:pt modelId="{BD5DA18B-751D-CC46-8185-863CCA37B441}" type="sibTrans" cxnId="{A7BDB28E-67BC-8C44-8681-4E64018BB51A}">
      <dgm:prSet/>
      <dgm:spPr/>
      <dgm:t>
        <a:bodyPr/>
        <a:lstStyle/>
        <a:p>
          <a:endParaRPr lang="fr-FR"/>
        </a:p>
      </dgm:t>
    </dgm:pt>
    <dgm:pt modelId="{D59EA744-50E2-284F-A29C-CEB6886DA125}">
      <dgm:prSet phldrT="[Texte]"/>
      <dgm:spPr/>
      <dgm:t>
        <a:bodyPr/>
        <a:lstStyle/>
        <a:p>
          <a:r>
            <a:rPr lang="fr-FR" i="0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i="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i="1" dirty="0">
              <a:latin typeface="Arial" panose="020B0604020202020204" pitchFamily="34" charset="0"/>
              <a:cs typeface="Arial" panose="020B0604020202020204" pitchFamily="34" charset="0"/>
            </a:rPr>
            <a:t>right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number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of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vectors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in the training set</a:t>
          </a:r>
        </a:p>
      </dgm:t>
    </dgm:pt>
    <dgm:pt modelId="{977F6F75-54BE-9546-9453-EEA036C784D8}" type="parTrans" cxnId="{1EC9C7BE-5C83-6D42-86EE-D67629984B92}">
      <dgm:prSet/>
      <dgm:spPr/>
      <dgm:t>
        <a:bodyPr/>
        <a:lstStyle/>
        <a:p>
          <a:endParaRPr lang="fr-FR"/>
        </a:p>
      </dgm:t>
    </dgm:pt>
    <dgm:pt modelId="{EA0D13F8-F030-0649-B938-25D940F0FD5D}" type="sibTrans" cxnId="{1EC9C7BE-5C83-6D42-86EE-D67629984B92}">
      <dgm:prSet/>
      <dgm:spPr/>
      <dgm:t>
        <a:bodyPr/>
        <a:lstStyle/>
        <a:p>
          <a:endParaRPr lang="fr-FR"/>
        </a:p>
      </dgm:t>
    </dgm:pt>
    <dgm:pt modelId="{FB1AFD9D-A03B-F34F-9028-3C2B7B06F35F}">
      <dgm:prSet phldrT="[Texte]"/>
      <dgm:spPr/>
      <dgm:t>
        <a:bodyPr/>
        <a:lstStyle/>
        <a:p>
          <a:r>
            <a:rPr lang="fr-FR" i="0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i="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i="1" dirty="0">
              <a:latin typeface="Arial" panose="020B0604020202020204" pitchFamily="34" charset="0"/>
              <a:cs typeface="Arial" panose="020B0604020202020204" pitchFamily="34" charset="0"/>
            </a:rPr>
            <a:t>right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value for the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regularization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CF7D8-2133-E340-96A4-0DABBF731A2B}" type="parTrans" cxnId="{C4D80BBE-EBB0-FE41-8710-FDFE260C4A64}">
      <dgm:prSet/>
      <dgm:spPr/>
      <dgm:t>
        <a:bodyPr/>
        <a:lstStyle/>
        <a:p>
          <a:endParaRPr lang="fr-FR"/>
        </a:p>
      </dgm:t>
    </dgm:pt>
    <dgm:pt modelId="{4FD0A3AC-1EB6-5D4D-96E5-3496432CCA9D}" type="sibTrans" cxnId="{C4D80BBE-EBB0-FE41-8710-FDFE260C4A64}">
      <dgm:prSet/>
      <dgm:spPr/>
      <dgm:t>
        <a:bodyPr/>
        <a:lstStyle/>
        <a:p>
          <a:endParaRPr lang="fr-FR"/>
        </a:p>
      </dgm:t>
    </dgm:pt>
    <dgm:pt modelId="{12C91253-55B6-D44F-9A2D-4E0F3FE47245}">
      <dgm:prSet phldrT="[Texte]"/>
      <dgm:spPr>
        <a:solidFill>
          <a:schemeClr val="bg2">
            <a:lumMod val="50000"/>
            <a:alpha val="70000"/>
          </a:schemeClr>
        </a:solidFill>
      </dgm:spPr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Determine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optimal architecture</a:t>
          </a:r>
        </a:p>
      </dgm:t>
    </dgm:pt>
    <dgm:pt modelId="{23E26187-C9E7-1D44-B53C-F40C824A5CF5}" type="parTrans" cxnId="{C0C2287B-E0A1-3344-A334-A68C8213A73B}">
      <dgm:prSet/>
      <dgm:spPr/>
      <dgm:t>
        <a:bodyPr/>
        <a:lstStyle/>
        <a:p>
          <a:endParaRPr lang="fr-FR"/>
        </a:p>
      </dgm:t>
    </dgm:pt>
    <dgm:pt modelId="{5ECA1B7C-BC3B-D846-B0AB-AB36D2F525C1}" type="sibTrans" cxnId="{C0C2287B-E0A1-3344-A334-A68C8213A73B}">
      <dgm:prSet/>
      <dgm:spPr/>
      <dgm:t>
        <a:bodyPr/>
        <a:lstStyle/>
        <a:p>
          <a:endParaRPr lang="fr-FR"/>
        </a:p>
      </dgm:t>
    </dgm:pt>
    <dgm:pt modelId="{43137FC6-01C5-214D-BE8A-58B38719C30E}">
      <dgm:prSet phldrT="[Texte]"/>
      <dgm:spPr>
        <a:solidFill>
          <a:schemeClr val="bg2">
            <a:lumMod val="50000"/>
            <a:alpha val="50000"/>
          </a:schemeClr>
        </a:solidFill>
      </dgm:spPr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Which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computation power do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we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have? </a:t>
          </a:r>
        </a:p>
      </dgm:t>
    </dgm:pt>
    <dgm:pt modelId="{D12E1F81-EE49-1742-A525-B1CD71470C9F}" type="parTrans" cxnId="{E5915C70-02F4-B340-B99B-1E0AC59ED3FB}">
      <dgm:prSet/>
      <dgm:spPr/>
      <dgm:t>
        <a:bodyPr/>
        <a:lstStyle/>
        <a:p>
          <a:endParaRPr lang="fr-FR"/>
        </a:p>
      </dgm:t>
    </dgm:pt>
    <dgm:pt modelId="{2A6E1BFC-FB0E-FE48-B884-A154CA6F2CD3}" type="sibTrans" cxnId="{E5915C70-02F4-B340-B99B-1E0AC59ED3FB}">
      <dgm:prSet/>
      <dgm:spPr/>
      <dgm:t>
        <a:bodyPr/>
        <a:lstStyle/>
        <a:p>
          <a:endParaRPr lang="fr-FR"/>
        </a:p>
      </dgm:t>
    </dgm:pt>
    <dgm:pt modelId="{3B20BEC0-2D42-254D-A068-D441B382913D}">
      <dgm:prSet phldrT="[Texte]"/>
      <dgm:spPr/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Study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autocorrelation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in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history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vector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7F7B89-9B74-DD4F-8E5D-790CD743C9D2}" type="parTrans" cxnId="{F6208FF2-16C3-A049-89D7-32351FCCDBCA}">
      <dgm:prSet/>
      <dgm:spPr/>
      <dgm:t>
        <a:bodyPr/>
        <a:lstStyle/>
        <a:p>
          <a:endParaRPr lang="fr-FR"/>
        </a:p>
      </dgm:t>
    </dgm:pt>
    <dgm:pt modelId="{84216FBD-9573-AB43-BFA7-88D69D3ACE0F}" type="sibTrans" cxnId="{F6208FF2-16C3-A049-89D7-32351FCCDBCA}">
      <dgm:prSet/>
      <dgm:spPr/>
      <dgm:t>
        <a:bodyPr/>
        <a:lstStyle/>
        <a:p>
          <a:endParaRPr lang="fr-FR"/>
        </a:p>
      </dgm:t>
    </dgm:pt>
    <dgm:pt modelId="{C3E5EF0C-7F9F-0943-8FFD-D4020683F192}">
      <dgm:prSet phldrT="[Texte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Study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filter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"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breakpoint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"</a:t>
          </a:r>
        </a:p>
      </dgm:t>
    </dgm:pt>
    <dgm:pt modelId="{1D4F5C69-E84D-694C-86BE-077280A135E3}" type="parTrans" cxnId="{03D54CDC-93A4-1A4D-8CEA-868733683DF6}">
      <dgm:prSet/>
      <dgm:spPr/>
      <dgm:t>
        <a:bodyPr/>
        <a:lstStyle/>
        <a:p>
          <a:endParaRPr lang="fr-FR"/>
        </a:p>
      </dgm:t>
    </dgm:pt>
    <dgm:pt modelId="{24D7A0CD-BD9F-2440-B78A-54BABE2831FC}" type="sibTrans" cxnId="{03D54CDC-93A4-1A4D-8CEA-868733683DF6}">
      <dgm:prSet/>
      <dgm:spPr/>
      <dgm:t>
        <a:bodyPr/>
        <a:lstStyle/>
        <a:p>
          <a:endParaRPr lang="fr-FR"/>
        </a:p>
      </dgm:t>
    </dgm:pt>
    <dgm:pt modelId="{CE1174CF-0F4B-614A-84CD-966B751396C8}">
      <dgm:prSet phldrT="[Texte]"/>
      <dgm:spPr>
        <a:solidFill>
          <a:schemeClr val="bg2">
            <a:lumMod val="50000"/>
            <a:alpha val="50000"/>
          </a:schemeClr>
        </a:solidFill>
      </dgm:spPr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Research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on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optics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and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material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BE49CA-3678-9848-B26D-CA48A02A13CA}" type="parTrans" cxnId="{E5458990-5F0F-5044-9C4F-04A2A38DE734}">
      <dgm:prSet/>
      <dgm:spPr/>
      <dgm:t>
        <a:bodyPr/>
        <a:lstStyle/>
        <a:p>
          <a:endParaRPr lang="fr-FR"/>
        </a:p>
      </dgm:t>
    </dgm:pt>
    <dgm:pt modelId="{99590F0C-3227-424A-8E44-37A673F7F8AD}" type="sibTrans" cxnId="{E5458990-5F0F-5044-9C4F-04A2A38DE734}">
      <dgm:prSet/>
      <dgm:spPr/>
      <dgm:t>
        <a:bodyPr/>
        <a:lstStyle/>
        <a:p>
          <a:endParaRPr lang="fr-FR"/>
        </a:p>
      </dgm:t>
    </dgm:pt>
    <dgm:pt modelId="{5CDD52AA-3701-E544-BFFD-1773138809A9}">
      <dgm:prSet phldrT="[Texte]"/>
      <dgm:spPr>
        <a:solidFill>
          <a:schemeClr val="bg2">
            <a:lumMod val="50000"/>
            <a:alpha val="30000"/>
          </a:schemeClr>
        </a:solidFill>
      </dgm:spPr>
      <dgm:t>
        <a:bodyPr/>
        <a:lstStyle/>
        <a:p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Investigate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dirty="0" err="1">
              <a:latin typeface="Arial" panose="020B0604020202020204" pitchFamily="34" charset="0"/>
              <a:cs typeface="Arial" panose="020B0604020202020204" pitchFamily="34" charset="0"/>
            </a:rPr>
            <a:t>segmented</a:t>
          </a: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 apertures</a:t>
          </a:r>
        </a:p>
      </dgm:t>
    </dgm:pt>
    <dgm:pt modelId="{DB775491-4CF7-704F-8603-DE8627374731}" type="parTrans" cxnId="{ED2EEC99-3040-E44B-915E-8A70B00E85D6}">
      <dgm:prSet/>
      <dgm:spPr/>
      <dgm:t>
        <a:bodyPr/>
        <a:lstStyle/>
        <a:p>
          <a:endParaRPr lang="fr-FR"/>
        </a:p>
      </dgm:t>
    </dgm:pt>
    <dgm:pt modelId="{C4E8BFDB-3D61-F740-A8A9-1FD372BAF0E1}" type="sibTrans" cxnId="{ED2EEC99-3040-E44B-915E-8A70B00E85D6}">
      <dgm:prSet/>
      <dgm:spPr/>
      <dgm:t>
        <a:bodyPr/>
        <a:lstStyle/>
        <a:p>
          <a:endParaRPr lang="fr-FR"/>
        </a:p>
      </dgm:t>
    </dgm:pt>
    <dgm:pt modelId="{16952A26-C2F2-A347-A8A1-622C895C6DA4}" type="pres">
      <dgm:prSet presAssocID="{AF29B170-2616-9641-85ED-83B74CA14E5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A84BB1B5-87E2-454F-A588-A3F0FD117804}" type="pres">
      <dgm:prSet presAssocID="{B737FB22-1D00-EB4B-9407-0EE7B038C2EB}" presName="root1" presStyleCnt="0"/>
      <dgm:spPr/>
    </dgm:pt>
    <dgm:pt modelId="{5D4A5846-590D-BB4F-AAEC-FA19FD337DBE}" type="pres">
      <dgm:prSet presAssocID="{B737FB22-1D00-EB4B-9407-0EE7B038C2EB}" presName="LevelOneTextNode" presStyleLbl="node0" presStyleIdx="0" presStyleCnt="1">
        <dgm:presLayoutVars>
          <dgm:chPref val="3"/>
        </dgm:presLayoutVars>
      </dgm:prSet>
      <dgm:spPr/>
    </dgm:pt>
    <dgm:pt modelId="{E4B9DBEC-C3BF-934B-9D12-1E8DED6B3F6F}" type="pres">
      <dgm:prSet presAssocID="{B737FB22-1D00-EB4B-9407-0EE7B038C2EB}" presName="level2hierChild" presStyleCnt="0"/>
      <dgm:spPr/>
    </dgm:pt>
    <dgm:pt modelId="{411B846B-1EAC-A54A-8050-A1EFF4F9BF73}" type="pres">
      <dgm:prSet presAssocID="{79B37FE8-5EC9-F440-972B-4F1D37A002CA}" presName="conn2-1" presStyleLbl="parChTrans1D2" presStyleIdx="0" presStyleCnt="2"/>
      <dgm:spPr/>
    </dgm:pt>
    <dgm:pt modelId="{22529454-ADDE-B245-9A53-BE9C2C94C0A1}" type="pres">
      <dgm:prSet presAssocID="{79B37FE8-5EC9-F440-972B-4F1D37A002CA}" presName="connTx" presStyleLbl="parChTrans1D2" presStyleIdx="0" presStyleCnt="2"/>
      <dgm:spPr/>
    </dgm:pt>
    <dgm:pt modelId="{4F8531AE-730A-BB41-BCFB-A2A0FAC77B91}" type="pres">
      <dgm:prSet presAssocID="{06453FA8-DF86-FA4B-86A9-767073AA24B0}" presName="root2" presStyleCnt="0"/>
      <dgm:spPr/>
    </dgm:pt>
    <dgm:pt modelId="{D4CDE47B-C7C4-F145-9C90-B875989FD319}" type="pres">
      <dgm:prSet presAssocID="{06453FA8-DF86-FA4B-86A9-767073AA24B0}" presName="LevelTwoTextNode" presStyleLbl="node2" presStyleIdx="0" presStyleCnt="2">
        <dgm:presLayoutVars>
          <dgm:chPref val="3"/>
        </dgm:presLayoutVars>
      </dgm:prSet>
      <dgm:spPr/>
    </dgm:pt>
    <dgm:pt modelId="{6C15897B-0426-5F4E-843B-42235E60FA28}" type="pres">
      <dgm:prSet presAssocID="{06453FA8-DF86-FA4B-86A9-767073AA24B0}" presName="level3hierChild" presStyleCnt="0"/>
      <dgm:spPr/>
    </dgm:pt>
    <dgm:pt modelId="{11B3F8D4-AC2A-E540-97EC-ECB4181147E0}" type="pres">
      <dgm:prSet presAssocID="{977F6F75-54BE-9546-9453-EEA036C784D8}" presName="conn2-1" presStyleLbl="parChTrans1D3" presStyleIdx="0" presStyleCnt="4"/>
      <dgm:spPr/>
    </dgm:pt>
    <dgm:pt modelId="{65F5A506-4BF5-8E45-9BCE-B966E3379038}" type="pres">
      <dgm:prSet presAssocID="{977F6F75-54BE-9546-9453-EEA036C784D8}" presName="connTx" presStyleLbl="parChTrans1D3" presStyleIdx="0" presStyleCnt="4"/>
      <dgm:spPr/>
    </dgm:pt>
    <dgm:pt modelId="{A03EA8F4-3AEE-EC49-8604-B6665398C025}" type="pres">
      <dgm:prSet presAssocID="{D59EA744-50E2-284F-A29C-CEB6886DA125}" presName="root2" presStyleCnt="0"/>
      <dgm:spPr/>
    </dgm:pt>
    <dgm:pt modelId="{6BE75F2C-D3F5-914D-95C8-B702799F181F}" type="pres">
      <dgm:prSet presAssocID="{D59EA744-50E2-284F-A29C-CEB6886DA125}" presName="LevelTwoTextNode" presStyleLbl="node3" presStyleIdx="0" presStyleCnt="4">
        <dgm:presLayoutVars>
          <dgm:chPref val="3"/>
        </dgm:presLayoutVars>
      </dgm:prSet>
      <dgm:spPr/>
    </dgm:pt>
    <dgm:pt modelId="{65B57E61-F4CD-8E47-A546-0C0567E2B8FC}" type="pres">
      <dgm:prSet presAssocID="{D59EA744-50E2-284F-A29C-CEB6886DA125}" presName="level3hierChild" presStyleCnt="0"/>
      <dgm:spPr/>
    </dgm:pt>
    <dgm:pt modelId="{C9E21D27-888C-3E42-B001-29C7BBE9956D}" type="pres">
      <dgm:prSet presAssocID="{C97F7B89-9B74-DD4F-8E5D-790CD743C9D2}" presName="conn2-1" presStyleLbl="parChTrans1D4" presStyleIdx="0" presStyleCnt="3"/>
      <dgm:spPr/>
    </dgm:pt>
    <dgm:pt modelId="{3281F020-8A38-4646-A34E-A0B08033E0CA}" type="pres">
      <dgm:prSet presAssocID="{C97F7B89-9B74-DD4F-8E5D-790CD743C9D2}" presName="connTx" presStyleLbl="parChTrans1D4" presStyleIdx="0" presStyleCnt="3"/>
      <dgm:spPr/>
    </dgm:pt>
    <dgm:pt modelId="{C5180AA0-3EDB-D846-9C9D-6171AFF9E1B7}" type="pres">
      <dgm:prSet presAssocID="{3B20BEC0-2D42-254D-A068-D441B382913D}" presName="root2" presStyleCnt="0"/>
      <dgm:spPr/>
    </dgm:pt>
    <dgm:pt modelId="{2D90B074-74F2-ED45-8A4C-32D2A95902C6}" type="pres">
      <dgm:prSet presAssocID="{3B20BEC0-2D42-254D-A068-D441B382913D}" presName="LevelTwoTextNode" presStyleLbl="node4" presStyleIdx="0" presStyleCnt="3">
        <dgm:presLayoutVars>
          <dgm:chPref val="3"/>
        </dgm:presLayoutVars>
      </dgm:prSet>
      <dgm:spPr/>
    </dgm:pt>
    <dgm:pt modelId="{08DB5F3F-AA70-4045-BDBB-F0EA1E01814E}" type="pres">
      <dgm:prSet presAssocID="{3B20BEC0-2D42-254D-A068-D441B382913D}" presName="level3hierChild" presStyleCnt="0"/>
      <dgm:spPr/>
    </dgm:pt>
    <dgm:pt modelId="{A2CCD7D5-ED6D-E346-A49E-6458E81CEE26}" type="pres">
      <dgm:prSet presAssocID="{944CF7D8-2133-E340-96A4-0DABBF731A2B}" presName="conn2-1" presStyleLbl="parChTrans1D3" presStyleIdx="1" presStyleCnt="4"/>
      <dgm:spPr/>
    </dgm:pt>
    <dgm:pt modelId="{87EE2DC1-5B95-7945-84A2-6A2DE88D1A4D}" type="pres">
      <dgm:prSet presAssocID="{944CF7D8-2133-E340-96A4-0DABBF731A2B}" presName="connTx" presStyleLbl="parChTrans1D3" presStyleIdx="1" presStyleCnt="4"/>
      <dgm:spPr/>
    </dgm:pt>
    <dgm:pt modelId="{A24B625C-6DF4-BC4C-B3D2-E2CFBDACC13B}" type="pres">
      <dgm:prSet presAssocID="{FB1AFD9D-A03B-F34F-9028-3C2B7B06F35F}" presName="root2" presStyleCnt="0"/>
      <dgm:spPr/>
    </dgm:pt>
    <dgm:pt modelId="{C12584C7-4EE3-404C-8B4C-3B3A48ECA012}" type="pres">
      <dgm:prSet presAssocID="{FB1AFD9D-A03B-F34F-9028-3C2B7B06F35F}" presName="LevelTwoTextNode" presStyleLbl="node3" presStyleIdx="1" presStyleCnt="4">
        <dgm:presLayoutVars>
          <dgm:chPref val="3"/>
        </dgm:presLayoutVars>
      </dgm:prSet>
      <dgm:spPr/>
    </dgm:pt>
    <dgm:pt modelId="{A5581330-AF1C-5F4C-97F1-FA1CAB9D4029}" type="pres">
      <dgm:prSet presAssocID="{FB1AFD9D-A03B-F34F-9028-3C2B7B06F35F}" presName="level3hierChild" presStyleCnt="0"/>
      <dgm:spPr/>
    </dgm:pt>
    <dgm:pt modelId="{112B48E6-1F6C-2F44-AD14-6C3BB3189C9B}" type="pres">
      <dgm:prSet presAssocID="{1D4F5C69-E84D-694C-86BE-077280A135E3}" presName="conn2-1" presStyleLbl="parChTrans1D4" presStyleIdx="1" presStyleCnt="3"/>
      <dgm:spPr/>
    </dgm:pt>
    <dgm:pt modelId="{212508A9-BFB4-EE41-9E33-95804D77CA12}" type="pres">
      <dgm:prSet presAssocID="{1D4F5C69-E84D-694C-86BE-077280A135E3}" presName="connTx" presStyleLbl="parChTrans1D4" presStyleIdx="1" presStyleCnt="3"/>
      <dgm:spPr/>
    </dgm:pt>
    <dgm:pt modelId="{1CDBB433-70A6-6F49-A1D5-D89DDC777572}" type="pres">
      <dgm:prSet presAssocID="{C3E5EF0C-7F9F-0943-8FFD-D4020683F192}" presName="root2" presStyleCnt="0"/>
      <dgm:spPr/>
    </dgm:pt>
    <dgm:pt modelId="{0C9CCF29-7A6F-854A-A155-4B11A33BB417}" type="pres">
      <dgm:prSet presAssocID="{C3E5EF0C-7F9F-0943-8FFD-D4020683F192}" presName="LevelTwoTextNode" presStyleLbl="node4" presStyleIdx="1" presStyleCnt="3">
        <dgm:presLayoutVars>
          <dgm:chPref val="3"/>
        </dgm:presLayoutVars>
      </dgm:prSet>
      <dgm:spPr/>
    </dgm:pt>
    <dgm:pt modelId="{65273D37-8C20-5C4C-902B-D9F01E497627}" type="pres">
      <dgm:prSet presAssocID="{C3E5EF0C-7F9F-0943-8FFD-D4020683F192}" presName="level3hierChild" presStyleCnt="0"/>
      <dgm:spPr/>
    </dgm:pt>
    <dgm:pt modelId="{72D349D0-F040-6541-A771-55CDD01B7CE4}" type="pres">
      <dgm:prSet presAssocID="{23E26187-C9E7-1D44-B53C-F40C824A5CF5}" presName="conn2-1" presStyleLbl="parChTrans1D2" presStyleIdx="1" presStyleCnt="2"/>
      <dgm:spPr/>
    </dgm:pt>
    <dgm:pt modelId="{043838E6-1E55-C349-AE28-7ADAAF831934}" type="pres">
      <dgm:prSet presAssocID="{23E26187-C9E7-1D44-B53C-F40C824A5CF5}" presName="connTx" presStyleLbl="parChTrans1D2" presStyleIdx="1" presStyleCnt="2"/>
      <dgm:spPr/>
    </dgm:pt>
    <dgm:pt modelId="{A52A2576-A360-5B45-A49A-01A118F6EB07}" type="pres">
      <dgm:prSet presAssocID="{12C91253-55B6-D44F-9A2D-4E0F3FE47245}" presName="root2" presStyleCnt="0"/>
      <dgm:spPr/>
    </dgm:pt>
    <dgm:pt modelId="{3BC04BCC-7F4D-7043-83EC-DB7753B1611B}" type="pres">
      <dgm:prSet presAssocID="{12C91253-55B6-D44F-9A2D-4E0F3FE47245}" presName="LevelTwoTextNode" presStyleLbl="node2" presStyleIdx="1" presStyleCnt="2">
        <dgm:presLayoutVars>
          <dgm:chPref val="3"/>
        </dgm:presLayoutVars>
      </dgm:prSet>
      <dgm:spPr/>
    </dgm:pt>
    <dgm:pt modelId="{8727AF9B-C609-C144-BC1E-9CFF8D496578}" type="pres">
      <dgm:prSet presAssocID="{12C91253-55B6-D44F-9A2D-4E0F3FE47245}" presName="level3hierChild" presStyleCnt="0"/>
      <dgm:spPr/>
    </dgm:pt>
    <dgm:pt modelId="{FD468C69-85BA-0744-BC49-44623E8463F7}" type="pres">
      <dgm:prSet presAssocID="{8EBE49CA-3678-9848-B26D-CA48A02A13CA}" presName="conn2-1" presStyleLbl="parChTrans1D3" presStyleIdx="2" presStyleCnt="4"/>
      <dgm:spPr/>
    </dgm:pt>
    <dgm:pt modelId="{CE5E9E36-E82C-C346-8D8F-8A5CA0BABDE1}" type="pres">
      <dgm:prSet presAssocID="{8EBE49CA-3678-9848-B26D-CA48A02A13CA}" presName="connTx" presStyleLbl="parChTrans1D3" presStyleIdx="2" presStyleCnt="4"/>
      <dgm:spPr/>
    </dgm:pt>
    <dgm:pt modelId="{749EF63C-5B50-0F4D-8C37-043568F2112E}" type="pres">
      <dgm:prSet presAssocID="{CE1174CF-0F4B-614A-84CD-966B751396C8}" presName="root2" presStyleCnt="0"/>
      <dgm:spPr/>
    </dgm:pt>
    <dgm:pt modelId="{1B5C65B4-028E-1C4B-AA2C-58822BE77068}" type="pres">
      <dgm:prSet presAssocID="{CE1174CF-0F4B-614A-84CD-966B751396C8}" presName="LevelTwoTextNode" presStyleLbl="node3" presStyleIdx="2" presStyleCnt="4">
        <dgm:presLayoutVars>
          <dgm:chPref val="3"/>
        </dgm:presLayoutVars>
      </dgm:prSet>
      <dgm:spPr/>
    </dgm:pt>
    <dgm:pt modelId="{38C7942D-453F-984A-B08C-5467A89EE0E0}" type="pres">
      <dgm:prSet presAssocID="{CE1174CF-0F4B-614A-84CD-966B751396C8}" presName="level3hierChild" presStyleCnt="0"/>
      <dgm:spPr/>
    </dgm:pt>
    <dgm:pt modelId="{E20DF506-751A-D444-A3C7-26A98E41D7E7}" type="pres">
      <dgm:prSet presAssocID="{DB775491-4CF7-704F-8603-DE8627374731}" presName="conn2-1" presStyleLbl="parChTrans1D4" presStyleIdx="2" presStyleCnt="3"/>
      <dgm:spPr/>
    </dgm:pt>
    <dgm:pt modelId="{36AFA801-AF9C-2A43-BDCB-8979D01F18FE}" type="pres">
      <dgm:prSet presAssocID="{DB775491-4CF7-704F-8603-DE8627374731}" presName="connTx" presStyleLbl="parChTrans1D4" presStyleIdx="2" presStyleCnt="3"/>
      <dgm:spPr/>
    </dgm:pt>
    <dgm:pt modelId="{D4366FB4-8E70-1C4E-9FCA-8B4F8608CDA6}" type="pres">
      <dgm:prSet presAssocID="{5CDD52AA-3701-E544-BFFD-1773138809A9}" presName="root2" presStyleCnt="0"/>
      <dgm:spPr/>
    </dgm:pt>
    <dgm:pt modelId="{8E909C63-A2C3-DB4A-BD7E-731104101872}" type="pres">
      <dgm:prSet presAssocID="{5CDD52AA-3701-E544-BFFD-1773138809A9}" presName="LevelTwoTextNode" presStyleLbl="node4" presStyleIdx="2" presStyleCnt="3">
        <dgm:presLayoutVars>
          <dgm:chPref val="3"/>
        </dgm:presLayoutVars>
      </dgm:prSet>
      <dgm:spPr/>
    </dgm:pt>
    <dgm:pt modelId="{EE889742-F91A-3448-A378-4D33A02F9FB7}" type="pres">
      <dgm:prSet presAssocID="{5CDD52AA-3701-E544-BFFD-1773138809A9}" presName="level3hierChild" presStyleCnt="0"/>
      <dgm:spPr/>
    </dgm:pt>
    <dgm:pt modelId="{7E8D51B4-ED85-5148-BF7D-7038ACAE7E70}" type="pres">
      <dgm:prSet presAssocID="{D12E1F81-EE49-1742-A525-B1CD71470C9F}" presName="conn2-1" presStyleLbl="parChTrans1D3" presStyleIdx="3" presStyleCnt="4"/>
      <dgm:spPr/>
    </dgm:pt>
    <dgm:pt modelId="{53984746-BC67-A445-B0AD-99CBBA4A1605}" type="pres">
      <dgm:prSet presAssocID="{D12E1F81-EE49-1742-A525-B1CD71470C9F}" presName="connTx" presStyleLbl="parChTrans1D3" presStyleIdx="3" presStyleCnt="4"/>
      <dgm:spPr/>
    </dgm:pt>
    <dgm:pt modelId="{632678FA-F127-1A4C-8B1F-5367599B93CC}" type="pres">
      <dgm:prSet presAssocID="{43137FC6-01C5-214D-BE8A-58B38719C30E}" presName="root2" presStyleCnt="0"/>
      <dgm:spPr/>
    </dgm:pt>
    <dgm:pt modelId="{27A832C6-78B5-C34A-AD0F-D0A593CCE64A}" type="pres">
      <dgm:prSet presAssocID="{43137FC6-01C5-214D-BE8A-58B38719C30E}" presName="LevelTwoTextNode" presStyleLbl="node3" presStyleIdx="3" presStyleCnt="4">
        <dgm:presLayoutVars>
          <dgm:chPref val="3"/>
        </dgm:presLayoutVars>
      </dgm:prSet>
      <dgm:spPr/>
    </dgm:pt>
    <dgm:pt modelId="{C4AD7B6C-D1CD-2241-A142-89F75BA18703}" type="pres">
      <dgm:prSet presAssocID="{43137FC6-01C5-214D-BE8A-58B38719C30E}" presName="level3hierChild" presStyleCnt="0"/>
      <dgm:spPr/>
    </dgm:pt>
  </dgm:ptLst>
  <dgm:cxnLst>
    <dgm:cxn modelId="{081C7104-59C4-9641-8DFC-97F24CFF332A}" type="presOf" srcId="{23E26187-C9E7-1D44-B53C-F40C824A5CF5}" destId="{72D349D0-F040-6541-A771-55CDD01B7CE4}" srcOrd="0" destOrd="0" presId="urn:microsoft.com/office/officeart/2005/8/layout/hierarchy2"/>
    <dgm:cxn modelId="{98217604-2BEF-9444-8F99-320134358BF3}" type="presOf" srcId="{C97F7B89-9B74-DD4F-8E5D-790CD743C9D2}" destId="{3281F020-8A38-4646-A34E-A0B08033E0CA}" srcOrd="1" destOrd="0" presId="urn:microsoft.com/office/officeart/2005/8/layout/hierarchy2"/>
    <dgm:cxn modelId="{E7A1E104-A132-014F-ABE4-98DB7BDD1FD0}" type="presOf" srcId="{DB775491-4CF7-704F-8603-DE8627374731}" destId="{E20DF506-751A-D444-A3C7-26A98E41D7E7}" srcOrd="0" destOrd="0" presId="urn:microsoft.com/office/officeart/2005/8/layout/hierarchy2"/>
    <dgm:cxn modelId="{76075006-6D1C-CA44-A889-B755795377E3}" type="presOf" srcId="{12C91253-55B6-D44F-9A2D-4E0F3FE47245}" destId="{3BC04BCC-7F4D-7043-83EC-DB7753B1611B}" srcOrd="0" destOrd="0" presId="urn:microsoft.com/office/officeart/2005/8/layout/hierarchy2"/>
    <dgm:cxn modelId="{0B04050A-1A92-B74A-85A9-5E700CCAA5E6}" type="presOf" srcId="{1D4F5C69-E84D-694C-86BE-077280A135E3}" destId="{212508A9-BFB4-EE41-9E33-95804D77CA12}" srcOrd="1" destOrd="0" presId="urn:microsoft.com/office/officeart/2005/8/layout/hierarchy2"/>
    <dgm:cxn modelId="{1DCBAD12-67E6-3544-B5D6-7808238377D9}" type="presOf" srcId="{23E26187-C9E7-1D44-B53C-F40C824A5CF5}" destId="{043838E6-1E55-C349-AE28-7ADAAF831934}" srcOrd="1" destOrd="0" presId="urn:microsoft.com/office/officeart/2005/8/layout/hierarchy2"/>
    <dgm:cxn modelId="{21F7B515-8FAE-6F43-A9FA-DD0F46251BD3}" type="presOf" srcId="{DB775491-4CF7-704F-8603-DE8627374731}" destId="{36AFA801-AF9C-2A43-BDCB-8979D01F18FE}" srcOrd="1" destOrd="0" presId="urn:microsoft.com/office/officeart/2005/8/layout/hierarchy2"/>
    <dgm:cxn modelId="{6AFF0C2A-F87C-A24A-9438-991C09CCE2F9}" type="presOf" srcId="{3B20BEC0-2D42-254D-A068-D441B382913D}" destId="{2D90B074-74F2-ED45-8A4C-32D2A95902C6}" srcOrd="0" destOrd="0" presId="urn:microsoft.com/office/officeart/2005/8/layout/hierarchy2"/>
    <dgm:cxn modelId="{42C8CB37-B763-E843-99C3-CE0170ABE8EE}" type="presOf" srcId="{B737FB22-1D00-EB4B-9407-0EE7B038C2EB}" destId="{5D4A5846-590D-BB4F-AAEC-FA19FD337DBE}" srcOrd="0" destOrd="0" presId="urn:microsoft.com/office/officeart/2005/8/layout/hierarchy2"/>
    <dgm:cxn modelId="{348F1739-E2F2-714D-BB44-707AAC6DDAD0}" type="presOf" srcId="{CE1174CF-0F4B-614A-84CD-966B751396C8}" destId="{1B5C65B4-028E-1C4B-AA2C-58822BE77068}" srcOrd="0" destOrd="0" presId="urn:microsoft.com/office/officeart/2005/8/layout/hierarchy2"/>
    <dgm:cxn modelId="{DE494952-6CC9-1A46-9E4A-415A2598E44F}" type="presOf" srcId="{944CF7D8-2133-E340-96A4-0DABBF731A2B}" destId="{87EE2DC1-5B95-7945-84A2-6A2DE88D1A4D}" srcOrd="1" destOrd="0" presId="urn:microsoft.com/office/officeart/2005/8/layout/hierarchy2"/>
    <dgm:cxn modelId="{5AA35068-6303-C849-8653-755A58EED94E}" type="presOf" srcId="{D12E1F81-EE49-1742-A525-B1CD71470C9F}" destId="{7E8D51B4-ED85-5148-BF7D-7038ACAE7E70}" srcOrd="0" destOrd="0" presId="urn:microsoft.com/office/officeart/2005/8/layout/hierarchy2"/>
    <dgm:cxn modelId="{7829FD6A-A1C5-3248-87B4-D7E100221AAA}" type="presOf" srcId="{977F6F75-54BE-9546-9453-EEA036C784D8}" destId="{11B3F8D4-AC2A-E540-97EC-ECB4181147E0}" srcOrd="0" destOrd="0" presId="urn:microsoft.com/office/officeart/2005/8/layout/hierarchy2"/>
    <dgm:cxn modelId="{E5915C70-02F4-B340-B99B-1E0AC59ED3FB}" srcId="{12C91253-55B6-D44F-9A2D-4E0F3FE47245}" destId="{43137FC6-01C5-214D-BE8A-58B38719C30E}" srcOrd="1" destOrd="0" parTransId="{D12E1F81-EE49-1742-A525-B1CD71470C9F}" sibTransId="{2A6E1BFC-FB0E-FE48-B884-A154CA6F2CD3}"/>
    <dgm:cxn modelId="{10406671-29A8-9446-BA81-29F18209C063}" type="presOf" srcId="{AF29B170-2616-9641-85ED-83B74CA14E5B}" destId="{16952A26-C2F2-A347-A8A1-622C895C6DA4}" srcOrd="0" destOrd="0" presId="urn:microsoft.com/office/officeart/2005/8/layout/hierarchy2"/>
    <dgm:cxn modelId="{C0C2287B-E0A1-3344-A334-A68C8213A73B}" srcId="{B737FB22-1D00-EB4B-9407-0EE7B038C2EB}" destId="{12C91253-55B6-D44F-9A2D-4E0F3FE47245}" srcOrd="1" destOrd="0" parTransId="{23E26187-C9E7-1D44-B53C-F40C824A5CF5}" sibTransId="{5ECA1B7C-BC3B-D846-B0AB-AB36D2F525C1}"/>
    <dgm:cxn modelId="{5D08E880-3D0D-8945-8D96-706EDCED1184}" type="presOf" srcId="{43137FC6-01C5-214D-BE8A-58B38719C30E}" destId="{27A832C6-78B5-C34A-AD0F-D0A593CCE64A}" srcOrd="0" destOrd="0" presId="urn:microsoft.com/office/officeart/2005/8/layout/hierarchy2"/>
    <dgm:cxn modelId="{A8A5A787-F767-1842-95FA-34AED5331F5B}" type="presOf" srcId="{D12E1F81-EE49-1742-A525-B1CD71470C9F}" destId="{53984746-BC67-A445-B0AD-99CBBA4A1605}" srcOrd="1" destOrd="0" presId="urn:microsoft.com/office/officeart/2005/8/layout/hierarchy2"/>
    <dgm:cxn modelId="{66C8CA8C-EFCC-2840-AAB4-B89A98010733}" type="presOf" srcId="{8EBE49CA-3678-9848-B26D-CA48A02A13CA}" destId="{FD468C69-85BA-0744-BC49-44623E8463F7}" srcOrd="0" destOrd="0" presId="urn:microsoft.com/office/officeart/2005/8/layout/hierarchy2"/>
    <dgm:cxn modelId="{43F5668D-8C1E-C048-8EAB-2686F9C17C93}" type="presOf" srcId="{944CF7D8-2133-E340-96A4-0DABBF731A2B}" destId="{A2CCD7D5-ED6D-E346-A49E-6458E81CEE26}" srcOrd="0" destOrd="0" presId="urn:microsoft.com/office/officeart/2005/8/layout/hierarchy2"/>
    <dgm:cxn modelId="{A7BDB28E-67BC-8C44-8681-4E64018BB51A}" srcId="{B737FB22-1D00-EB4B-9407-0EE7B038C2EB}" destId="{06453FA8-DF86-FA4B-86A9-767073AA24B0}" srcOrd="0" destOrd="0" parTransId="{79B37FE8-5EC9-F440-972B-4F1D37A002CA}" sibTransId="{BD5DA18B-751D-CC46-8185-863CCA37B441}"/>
    <dgm:cxn modelId="{0E390A8F-B511-7841-BEBE-735277153809}" srcId="{AF29B170-2616-9641-85ED-83B74CA14E5B}" destId="{B737FB22-1D00-EB4B-9407-0EE7B038C2EB}" srcOrd="0" destOrd="0" parTransId="{87B8B2A6-4C15-C14B-AA1B-85977531B86C}" sibTransId="{E765AA77-DBC6-7A41-A956-A21B839C831D}"/>
    <dgm:cxn modelId="{E5458990-5F0F-5044-9C4F-04A2A38DE734}" srcId="{12C91253-55B6-D44F-9A2D-4E0F3FE47245}" destId="{CE1174CF-0F4B-614A-84CD-966B751396C8}" srcOrd="0" destOrd="0" parTransId="{8EBE49CA-3678-9848-B26D-CA48A02A13CA}" sibTransId="{99590F0C-3227-424A-8E44-37A673F7F8AD}"/>
    <dgm:cxn modelId="{B342B292-51DA-B84B-8AEC-3CE3620B2E93}" type="presOf" srcId="{1D4F5C69-E84D-694C-86BE-077280A135E3}" destId="{112B48E6-1F6C-2F44-AD14-6C3BB3189C9B}" srcOrd="0" destOrd="0" presId="urn:microsoft.com/office/officeart/2005/8/layout/hierarchy2"/>
    <dgm:cxn modelId="{D05FDB95-5438-1544-AAEC-A94FFC3D2E66}" type="presOf" srcId="{FB1AFD9D-A03B-F34F-9028-3C2B7B06F35F}" destId="{C12584C7-4EE3-404C-8B4C-3B3A48ECA012}" srcOrd="0" destOrd="0" presId="urn:microsoft.com/office/officeart/2005/8/layout/hierarchy2"/>
    <dgm:cxn modelId="{ED2EEC99-3040-E44B-915E-8A70B00E85D6}" srcId="{CE1174CF-0F4B-614A-84CD-966B751396C8}" destId="{5CDD52AA-3701-E544-BFFD-1773138809A9}" srcOrd="0" destOrd="0" parTransId="{DB775491-4CF7-704F-8603-DE8627374731}" sibTransId="{C4E8BFDB-3D61-F740-A8A9-1FD372BAF0E1}"/>
    <dgm:cxn modelId="{BF4B51A9-3EFA-1C48-A513-E378CBA49B6F}" type="presOf" srcId="{79B37FE8-5EC9-F440-972B-4F1D37A002CA}" destId="{411B846B-1EAC-A54A-8050-A1EFF4F9BF73}" srcOrd="0" destOrd="0" presId="urn:microsoft.com/office/officeart/2005/8/layout/hierarchy2"/>
    <dgm:cxn modelId="{DE3DEEA9-CB91-3D45-A520-63D0357B29D4}" type="presOf" srcId="{D59EA744-50E2-284F-A29C-CEB6886DA125}" destId="{6BE75F2C-D3F5-914D-95C8-B702799F181F}" srcOrd="0" destOrd="0" presId="urn:microsoft.com/office/officeart/2005/8/layout/hierarchy2"/>
    <dgm:cxn modelId="{B586CDB8-319B-A443-98EA-6061E0023055}" type="presOf" srcId="{79B37FE8-5EC9-F440-972B-4F1D37A002CA}" destId="{22529454-ADDE-B245-9A53-BE9C2C94C0A1}" srcOrd="1" destOrd="0" presId="urn:microsoft.com/office/officeart/2005/8/layout/hierarchy2"/>
    <dgm:cxn modelId="{C4D80BBE-EBB0-FE41-8710-FDFE260C4A64}" srcId="{06453FA8-DF86-FA4B-86A9-767073AA24B0}" destId="{FB1AFD9D-A03B-F34F-9028-3C2B7B06F35F}" srcOrd="1" destOrd="0" parTransId="{944CF7D8-2133-E340-96A4-0DABBF731A2B}" sibTransId="{4FD0A3AC-1EB6-5D4D-96E5-3496432CCA9D}"/>
    <dgm:cxn modelId="{1EC9C7BE-5C83-6D42-86EE-D67629984B92}" srcId="{06453FA8-DF86-FA4B-86A9-767073AA24B0}" destId="{D59EA744-50E2-284F-A29C-CEB6886DA125}" srcOrd="0" destOrd="0" parTransId="{977F6F75-54BE-9546-9453-EEA036C784D8}" sibTransId="{EA0D13F8-F030-0649-B938-25D940F0FD5D}"/>
    <dgm:cxn modelId="{745B79C4-AF46-744C-8EA1-E40542851224}" type="presOf" srcId="{C97F7B89-9B74-DD4F-8E5D-790CD743C9D2}" destId="{C9E21D27-888C-3E42-B001-29C7BBE9956D}" srcOrd="0" destOrd="0" presId="urn:microsoft.com/office/officeart/2005/8/layout/hierarchy2"/>
    <dgm:cxn modelId="{6FA3FCC6-87CB-AF47-8D11-9E460B3F65AB}" type="presOf" srcId="{5CDD52AA-3701-E544-BFFD-1773138809A9}" destId="{8E909C63-A2C3-DB4A-BD7E-731104101872}" srcOrd="0" destOrd="0" presId="urn:microsoft.com/office/officeart/2005/8/layout/hierarchy2"/>
    <dgm:cxn modelId="{812E76CB-A379-D041-800C-44EFAE885DA0}" type="presOf" srcId="{06453FA8-DF86-FA4B-86A9-767073AA24B0}" destId="{D4CDE47B-C7C4-F145-9C90-B875989FD319}" srcOrd="0" destOrd="0" presId="urn:microsoft.com/office/officeart/2005/8/layout/hierarchy2"/>
    <dgm:cxn modelId="{3482EFCC-2783-434B-ADC3-76CC14F631AB}" type="presOf" srcId="{977F6F75-54BE-9546-9453-EEA036C784D8}" destId="{65F5A506-4BF5-8E45-9BCE-B966E3379038}" srcOrd="1" destOrd="0" presId="urn:microsoft.com/office/officeart/2005/8/layout/hierarchy2"/>
    <dgm:cxn modelId="{03D54CDC-93A4-1A4D-8CEA-868733683DF6}" srcId="{FB1AFD9D-A03B-F34F-9028-3C2B7B06F35F}" destId="{C3E5EF0C-7F9F-0943-8FFD-D4020683F192}" srcOrd="0" destOrd="0" parTransId="{1D4F5C69-E84D-694C-86BE-077280A135E3}" sibTransId="{24D7A0CD-BD9F-2440-B78A-54BABE2831FC}"/>
    <dgm:cxn modelId="{F0E4E6DF-D16D-5442-9361-B1F82DFF65F9}" type="presOf" srcId="{8EBE49CA-3678-9848-B26D-CA48A02A13CA}" destId="{CE5E9E36-E82C-C346-8D8F-8A5CA0BABDE1}" srcOrd="1" destOrd="0" presId="urn:microsoft.com/office/officeart/2005/8/layout/hierarchy2"/>
    <dgm:cxn modelId="{F6208FF2-16C3-A049-89D7-32351FCCDBCA}" srcId="{D59EA744-50E2-284F-A29C-CEB6886DA125}" destId="{3B20BEC0-2D42-254D-A068-D441B382913D}" srcOrd="0" destOrd="0" parTransId="{C97F7B89-9B74-DD4F-8E5D-790CD743C9D2}" sibTransId="{84216FBD-9573-AB43-BFA7-88D69D3ACE0F}"/>
    <dgm:cxn modelId="{5C53C3FB-99EB-944E-BBBD-0F6628A4E87E}" type="presOf" srcId="{C3E5EF0C-7F9F-0943-8FFD-D4020683F192}" destId="{0C9CCF29-7A6F-854A-A155-4B11A33BB417}" srcOrd="0" destOrd="0" presId="urn:microsoft.com/office/officeart/2005/8/layout/hierarchy2"/>
    <dgm:cxn modelId="{BFCE0868-C1E5-CB45-82FC-F5F094AD38FB}" type="presParOf" srcId="{16952A26-C2F2-A347-A8A1-622C895C6DA4}" destId="{A84BB1B5-87E2-454F-A588-A3F0FD117804}" srcOrd="0" destOrd="0" presId="urn:microsoft.com/office/officeart/2005/8/layout/hierarchy2"/>
    <dgm:cxn modelId="{979C9094-BB1B-0140-8DE7-4AA7926044FD}" type="presParOf" srcId="{A84BB1B5-87E2-454F-A588-A3F0FD117804}" destId="{5D4A5846-590D-BB4F-AAEC-FA19FD337DBE}" srcOrd="0" destOrd="0" presId="urn:microsoft.com/office/officeart/2005/8/layout/hierarchy2"/>
    <dgm:cxn modelId="{F94DC4D1-E44D-CA41-AB63-8E7DBB5E3E19}" type="presParOf" srcId="{A84BB1B5-87E2-454F-A588-A3F0FD117804}" destId="{E4B9DBEC-C3BF-934B-9D12-1E8DED6B3F6F}" srcOrd="1" destOrd="0" presId="urn:microsoft.com/office/officeart/2005/8/layout/hierarchy2"/>
    <dgm:cxn modelId="{03F6D5C5-D5ED-CA40-A09A-ECBA977AF3A1}" type="presParOf" srcId="{E4B9DBEC-C3BF-934B-9D12-1E8DED6B3F6F}" destId="{411B846B-1EAC-A54A-8050-A1EFF4F9BF73}" srcOrd="0" destOrd="0" presId="urn:microsoft.com/office/officeart/2005/8/layout/hierarchy2"/>
    <dgm:cxn modelId="{A7072883-E4DF-EF47-9AFD-2293FB33485D}" type="presParOf" srcId="{411B846B-1EAC-A54A-8050-A1EFF4F9BF73}" destId="{22529454-ADDE-B245-9A53-BE9C2C94C0A1}" srcOrd="0" destOrd="0" presId="urn:microsoft.com/office/officeart/2005/8/layout/hierarchy2"/>
    <dgm:cxn modelId="{1C067BA6-D7BB-FB46-A0AD-D383CB11D60A}" type="presParOf" srcId="{E4B9DBEC-C3BF-934B-9D12-1E8DED6B3F6F}" destId="{4F8531AE-730A-BB41-BCFB-A2A0FAC77B91}" srcOrd="1" destOrd="0" presId="urn:microsoft.com/office/officeart/2005/8/layout/hierarchy2"/>
    <dgm:cxn modelId="{3F3FC65D-51FF-8F46-9282-AE0A682A0FA7}" type="presParOf" srcId="{4F8531AE-730A-BB41-BCFB-A2A0FAC77B91}" destId="{D4CDE47B-C7C4-F145-9C90-B875989FD319}" srcOrd="0" destOrd="0" presId="urn:microsoft.com/office/officeart/2005/8/layout/hierarchy2"/>
    <dgm:cxn modelId="{DC3BC251-4EB4-7746-B910-C8456E6FF84C}" type="presParOf" srcId="{4F8531AE-730A-BB41-BCFB-A2A0FAC77B91}" destId="{6C15897B-0426-5F4E-843B-42235E60FA28}" srcOrd="1" destOrd="0" presId="urn:microsoft.com/office/officeart/2005/8/layout/hierarchy2"/>
    <dgm:cxn modelId="{AC6952E2-C7B8-C341-B06E-56B98C3A577A}" type="presParOf" srcId="{6C15897B-0426-5F4E-843B-42235E60FA28}" destId="{11B3F8D4-AC2A-E540-97EC-ECB4181147E0}" srcOrd="0" destOrd="0" presId="urn:microsoft.com/office/officeart/2005/8/layout/hierarchy2"/>
    <dgm:cxn modelId="{F7D688E1-B011-5942-98DC-98A122312DD6}" type="presParOf" srcId="{11B3F8D4-AC2A-E540-97EC-ECB4181147E0}" destId="{65F5A506-4BF5-8E45-9BCE-B966E3379038}" srcOrd="0" destOrd="0" presId="urn:microsoft.com/office/officeart/2005/8/layout/hierarchy2"/>
    <dgm:cxn modelId="{A0D305AC-CE1A-974A-91BF-2731EA5B6E64}" type="presParOf" srcId="{6C15897B-0426-5F4E-843B-42235E60FA28}" destId="{A03EA8F4-3AEE-EC49-8604-B6665398C025}" srcOrd="1" destOrd="0" presId="urn:microsoft.com/office/officeart/2005/8/layout/hierarchy2"/>
    <dgm:cxn modelId="{E70B6AAD-DE65-D84F-BB5C-F2E34E8C8732}" type="presParOf" srcId="{A03EA8F4-3AEE-EC49-8604-B6665398C025}" destId="{6BE75F2C-D3F5-914D-95C8-B702799F181F}" srcOrd="0" destOrd="0" presId="urn:microsoft.com/office/officeart/2005/8/layout/hierarchy2"/>
    <dgm:cxn modelId="{83F60387-F788-2842-B942-98C900CEE78B}" type="presParOf" srcId="{A03EA8F4-3AEE-EC49-8604-B6665398C025}" destId="{65B57E61-F4CD-8E47-A546-0C0567E2B8FC}" srcOrd="1" destOrd="0" presId="urn:microsoft.com/office/officeart/2005/8/layout/hierarchy2"/>
    <dgm:cxn modelId="{B82B98E7-68D7-6345-A470-0A273BC52B58}" type="presParOf" srcId="{65B57E61-F4CD-8E47-A546-0C0567E2B8FC}" destId="{C9E21D27-888C-3E42-B001-29C7BBE9956D}" srcOrd="0" destOrd="0" presId="urn:microsoft.com/office/officeart/2005/8/layout/hierarchy2"/>
    <dgm:cxn modelId="{59EA4DCA-D747-194C-9235-D36E9FED5369}" type="presParOf" srcId="{C9E21D27-888C-3E42-B001-29C7BBE9956D}" destId="{3281F020-8A38-4646-A34E-A0B08033E0CA}" srcOrd="0" destOrd="0" presId="urn:microsoft.com/office/officeart/2005/8/layout/hierarchy2"/>
    <dgm:cxn modelId="{DE9E3F0F-476D-EC4F-9349-9C1F26EAABDE}" type="presParOf" srcId="{65B57E61-F4CD-8E47-A546-0C0567E2B8FC}" destId="{C5180AA0-3EDB-D846-9C9D-6171AFF9E1B7}" srcOrd="1" destOrd="0" presId="urn:microsoft.com/office/officeart/2005/8/layout/hierarchy2"/>
    <dgm:cxn modelId="{F1851B7B-DAC0-FF48-AF90-DD373C329B6D}" type="presParOf" srcId="{C5180AA0-3EDB-D846-9C9D-6171AFF9E1B7}" destId="{2D90B074-74F2-ED45-8A4C-32D2A95902C6}" srcOrd="0" destOrd="0" presId="urn:microsoft.com/office/officeart/2005/8/layout/hierarchy2"/>
    <dgm:cxn modelId="{94B789D3-145A-4F47-8430-53DF91737A06}" type="presParOf" srcId="{C5180AA0-3EDB-D846-9C9D-6171AFF9E1B7}" destId="{08DB5F3F-AA70-4045-BDBB-F0EA1E01814E}" srcOrd="1" destOrd="0" presId="urn:microsoft.com/office/officeart/2005/8/layout/hierarchy2"/>
    <dgm:cxn modelId="{2801F0F2-274B-954C-A234-EC4CEEC99A44}" type="presParOf" srcId="{6C15897B-0426-5F4E-843B-42235E60FA28}" destId="{A2CCD7D5-ED6D-E346-A49E-6458E81CEE26}" srcOrd="2" destOrd="0" presId="urn:microsoft.com/office/officeart/2005/8/layout/hierarchy2"/>
    <dgm:cxn modelId="{E28F9C58-B04D-5042-92B4-13671C344E2E}" type="presParOf" srcId="{A2CCD7D5-ED6D-E346-A49E-6458E81CEE26}" destId="{87EE2DC1-5B95-7945-84A2-6A2DE88D1A4D}" srcOrd="0" destOrd="0" presId="urn:microsoft.com/office/officeart/2005/8/layout/hierarchy2"/>
    <dgm:cxn modelId="{8D784A77-7B33-6847-80C4-17D7CB9869E5}" type="presParOf" srcId="{6C15897B-0426-5F4E-843B-42235E60FA28}" destId="{A24B625C-6DF4-BC4C-B3D2-E2CFBDACC13B}" srcOrd="3" destOrd="0" presId="urn:microsoft.com/office/officeart/2005/8/layout/hierarchy2"/>
    <dgm:cxn modelId="{415E3D19-E5A5-DF41-BCD3-2B16506DBE8B}" type="presParOf" srcId="{A24B625C-6DF4-BC4C-B3D2-E2CFBDACC13B}" destId="{C12584C7-4EE3-404C-8B4C-3B3A48ECA012}" srcOrd="0" destOrd="0" presId="urn:microsoft.com/office/officeart/2005/8/layout/hierarchy2"/>
    <dgm:cxn modelId="{E654E810-308C-1543-8069-2E8005848F37}" type="presParOf" srcId="{A24B625C-6DF4-BC4C-B3D2-E2CFBDACC13B}" destId="{A5581330-AF1C-5F4C-97F1-FA1CAB9D4029}" srcOrd="1" destOrd="0" presId="urn:microsoft.com/office/officeart/2005/8/layout/hierarchy2"/>
    <dgm:cxn modelId="{6683219B-EB0E-EC44-9461-CB63FC662EC6}" type="presParOf" srcId="{A5581330-AF1C-5F4C-97F1-FA1CAB9D4029}" destId="{112B48E6-1F6C-2F44-AD14-6C3BB3189C9B}" srcOrd="0" destOrd="0" presId="urn:microsoft.com/office/officeart/2005/8/layout/hierarchy2"/>
    <dgm:cxn modelId="{AC8B5CEA-F7BE-B240-A9E2-8901ACA2FD9C}" type="presParOf" srcId="{112B48E6-1F6C-2F44-AD14-6C3BB3189C9B}" destId="{212508A9-BFB4-EE41-9E33-95804D77CA12}" srcOrd="0" destOrd="0" presId="urn:microsoft.com/office/officeart/2005/8/layout/hierarchy2"/>
    <dgm:cxn modelId="{3199FD73-3F11-344E-82E3-15AF1F320C61}" type="presParOf" srcId="{A5581330-AF1C-5F4C-97F1-FA1CAB9D4029}" destId="{1CDBB433-70A6-6F49-A1D5-D89DDC777572}" srcOrd="1" destOrd="0" presId="urn:microsoft.com/office/officeart/2005/8/layout/hierarchy2"/>
    <dgm:cxn modelId="{BBA60C91-8474-A448-B026-6604009A3E15}" type="presParOf" srcId="{1CDBB433-70A6-6F49-A1D5-D89DDC777572}" destId="{0C9CCF29-7A6F-854A-A155-4B11A33BB417}" srcOrd="0" destOrd="0" presId="urn:microsoft.com/office/officeart/2005/8/layout/hierarchy2"/>
    <dgm:cxn modelId="{DABF5D2C-20A5-9042-AC4D-C1B29F7920A0}" type="presParOf" srcId="{1CDBB433-70A6-6F49-A1D5-D89DDC777572}" destId="{65273D37-8C20-5C4C-902B-D9F01E497627}" srcOrd="1" destOrd="0" presId="urn:microsoft.com/office/officeart/2005/8/layout/hierarchy2"/>
    <dgm:cxn modelId="{39923DB7-5D32-1F4D-AC31-E41CB7D1611B}" type="presParOf" srcId="{E4B9DBEC-C3BF-934B-9D12-1E8DED6B3F6F}" destId="{72D349D0-F040-6541-A771-55CDD01B7CE4}" srcOrd="2" destOrd="0" presId="urn:microsoft.com/office/officeart/2005/8/layout/hierarchy2"/>
    <dgm:cxn modelId="{80D5B249-AAF2-0F49-A1FE-DD94A3F7985F}" type="presParOf" srcId="{72D349D0-F040-6541-A771-55CDD01B7CE4}" destId="{043838E6-1E55-C349-AE28-7ADAAF831934}" srcOrd="0" destOrd="0" presId="urn:microsoft.com/office/officeart/2005/8/layout/hierarchy2"/>
    <dgm:cxn modelId="{ED7F4415-D630-CB44-8B90-8B16C7D191D0}" type="presParOf" srcId="{E4B9DBEC-C3BF-934B-9D12-1E8DED6B3F6F}" destId="{A52A2576-A360-5B45-A49A-01A118F6EB07}" srcOrd="3" destOrd="0" presId="urn:microsoft.com/office/officeart/2005/8/layout/hierarchy2"/>
    <dgm:cxn modelId="{7D1303E8-281B-C546-9325-639ADB19DD62}" type="presParOf" srcId="{A52A2576-A360-5B45-A49A-01A118F6EB07}" destId="{3BC04BCC-7F4D-7043-83EC-DB7753B1611B}" srcOrd="0" destOrd="0" presId="urn:microsoft.com/office/officeart/2005/8/layout/hierarchy2"/>
    <dgm:cxn modelId="{B750A16E-6EEB-BB49-BE19-17151BE5A4FF}" type="presParOf" srcId="{A52A2576-A360-5B45-A49A-01A118F6EB07}" destId="{8727AF9B-C609-C144-BC1E-9CFF8D496578}" srcOrd="1" destOrd="0" presId="urn:microsoft.com/office/officeart/2005/8/layout/hierarchy2"/>
    <dgm:cxn modelId="{794949F9-C302-CD47-B301-67F4F4474947}" type="presParOf" srcId="{8727AF9B-C609-C144-BC1E-9CFF8D496578}" destId="{FD468C69-85BA-0744-BC49-44623E8463F7}" srcOrd="0" destOrd="0" presId="urn:microsoft.com/office/officeart/2005/8/layout/hierarchy2"/>
    <dgm:cxn modelId="{6A44B03D-B434-0047-9919-C9C6C2BC4365}" type="presParOf" srcId="{FD468C69-85BA-0744-BC49-44623E8463F7}" destId="{CE5E9E36-E82C-C346-8D8F-8A5CA0BABDE1}" srcOrd="0" destOrd="0" presId="urn:microsoft.com/office/officeart/2005/8/layout/hierarchy2"/>
    <dgm:cxn modelId="{CB18BAC4-D3B7-5E49-B581-2798137B8317}" type="presParOf" srcId="{8727AF9B-C609-C144-BC1E-9CFF8D496578}" destId="{749EF63C-5B50-0F4D-8C37-043568F2112E}" srcOrd="1" destOrd="0" presId="urn:microsoft.com/office/officeart/2005/8/layout/hierarchy2"/>
    <dgm:cxn modelId="{50B7B754-94EC-C347-B8A6-29D734586F94}" type="presParOf" srcId="{749EF63C-5B50-0F4D-8C37-043568F2112E}" destId="{1B5C65B4-028E-1C4B-AA2C-58822BE77068}" srcOrd="0" destOrd="0" presId="urn:microsoft.com/office/officeart/2005/8/layout/hierarchy2"/>
    <dgm:cxn modelId="{FB091C37-7A55-3542-836D-B5D92EFE69D7}" type="presParOf" srcId="{749EF63C-5B50-0F4D-8C37-043568F2112E}" destId="{38C7942D-453F-984A-B08C-5467A89EE0E0}" srcOrd="1" destOrd="0" presId="urn:microsoft.com/office/officeart/2005/8/layout/hierarchy2"/>
    <dgm:cxn modelId="{DBC716F1-3361-6E4F-A948-0B7CF27781D2}" type="presParOf" srcId="{38C7942D-453F-984A-B08C-5467A89EE0E0}" destId="{E20DF506-751A-D444-A3C7-26A98E41D7E7}" srcOrd="0" destOrd="0" presId="urn:microsoft.com/office/officeart/2005/8/layout/hierarchy2"/>
    <dgm:cxn modelId="{ADC4EA55-813C-E840-A321-3978F534BE2C}" type="presParOf" srcId="{E20DF506-751A-D444-A3C7-26A98E41D7E7}" destId="{36AFA801-AF9C-2A43-BDCB-8979D01F18FE}" srcOrd="0" destOrd="0" presId="urn:microsoft.com/office/officeart/2005/8/layout/hierarchy2"/>
    <dgm:cxn modelId="{645072B0-0BE8-D749-BF95-D45FB0CD8B7C}" type="presParOf" srcId="{38C7942D-453F-984A-B08C-5467A89EE0E0}" destId="{D4366FB4-8E70-1C4E-9FCA-8B4F8608CDA6}" srcOrd="1" destOrd="0" presId="urn:microsoft.com/office/officeart/2005/8/layout/hierarchy2"/>
    <dgm:cxn modelId="{503B6372-9837-CE42-A19C-203FF47058F9}" type="presParOf" srcId="{D4366FB4-8E70-1C4E-9FCA-8B4F8608CDA6}" destId="{8E909C63-A2C3-DB4A-BD7E-731104101872}" srcOrd="0" destOrd="0" presId="urn:microsoft.com/office/officeart/2005/8/layout/hierarchy2"/>
    <dgm:cxn modelId="{C2D4BEA6-54EA-004F-A0B1-0133354A8AEC}" type="presParOf" srcId="{D4366FB4-8E70-1C4E-9FCA-8B4F8608CDA6}" destId="{EE889742-F91A-3448-A378-4D33A02F9FB7}" srcOrd="1" destOrd="0" presId="urn:microsoft.com/office/officeart/2005/8/layout/hierarchy2"/>
    <dgm:cxn modelId="{6A207AE8-3D25-6147-ADE8-A3DE81EFE064}" type="presParOf" srcId="{8727AF9B-C609-C144-BC1E-9CFF8D496578}" destId="{7E8D51B4-ED85-5148-BF7D-7038ACAE7E70}" srcOrd="2" destOrd="0" presId="urn:microsoft.com/office/officeart/2005/8/layout/hierarchy2"/>
    <dgm:cxn modelId="{22FC37E5-0720-4240-A31A-2CE623E092B2}" type="presParOf" srcId="{7E8D51B4-ED85-5148-BF7D-7038ACAE7E70}" destId="{53984746-BC67-A445-B0AD-99CBBA4A1605}" srcOrd="0" destOrd="0" presId="urn:microsoft.com/office/officeart/2005/8/layout/hierarchy2"/>
    <dgm:cxn modelId="{916D7C02-116A-9342-B158-EB0D8C2FA1EA}" type="presParOf" srcId="{8727AF9B-C609-C144-BC1E-9CFF8D496578}" destId="{632678FA-F127-1A4C-8B1F-5367599B93CC}" srcOrd="3" destOrd="0" presId="urn:microsoft.com/office/officeart/2005/8/layout/hierarchy2"/>
    <dgm:cxn modelId="{E35E6863-6565-DE4F-94BD-8B1D199F532E}" type="presParOf" srcId="{632678FA-F127-1A4C-8B1F-5367599B93CC}" destId="{27A832C6-78B5-C34A-AD0F-D0A593CCE64A}" srcOrd="0" destOrd="0" presId="urn:microsoft.com/office/officeart/2005/8/layout/hierarchy2"/>
    <dgm:cxn modelId="{4E8A4249-9AA1-084D-AE54-87910EC7AF22}" type="presParOf" srcId="{632678FA-F127-1A4C-8B1F-5367599B93CC}" destId="{C4AD7B6C-D1CD-2241-A142-89F75BA18703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667E3A-8807-1A4C-8376-271378FC6260}">
      <dsp:nvSpPr>
        <dsp:cNvPr id="0" name=""/>
        <dsp:cNvSpPr/>
      </dsp:nvSpPr>
      <dsp:spPr>
        <a:xfrm>
          <a:off x="24394" y="3219"/>
          <a:ext cx="1968996" cy="1968996"/>
        </a:xfrm>
        <a:prstGeom prst="ellipse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 err="1">
              <a:latin typeface="Arial" panose="020B0604020202020204" pitchFamily="34" charset="0"/>
              <a:cs typeface="Arial" panose="020B0604020202020204" pitchFamily="34" charset="0"/>
            </a:rPr>
            <a:t>Currently</a:t>
          </a:r>
          <a:r>
            <a:rPr lang="fr-FR" sz="2300" kern="1200" dirty="0">
              <a:latin typeface="Arial" panose="020B0604020202020204" pitchFamily="34" charset="0"/>
              <a:cs typeface="Arial" panose="020B0604020202020204" pitchFamily="34" charset="0"/>
            </a:rPr>
            <a:t>: estimation of </a:t>
          </a:r>
          <a14:m xmlns:a14="http://schemas.microsoft.com/office/drawing/2010/main">
            <m:oMath xmlns:m="http://schemas.openxmlformats.org/officeDocument/2006/math">
              <m:r>
                <a:rPr lang="fr-FR" sz="2300" b="1" i="1" kern="1200" smtClean="0">
                  <a:latin typeface="Cambria Math" panose="02040503050406030204" pitchFamily="18" charset="0"/>
                </a:rPr>
                <m:t>𝑬</m:t>
              </m:r>
            </m:oMath>
          </a14:m>
          <a:r>
            <a:rPr lang="fr-FR" sz="2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2300" kern="1200" dirty="0" err="1">
              <a:latin typeface="Arial" panose="020B0604020202020204" pitchFamily="34" charset="0"/>
              <a:cs typeface="Arial" panose="020B0604020202020204" pitchFamily="34" charset="0"/>
            </a:rPr>
            <a:t>from</a:t>
          </a:r>
          <a:r>
            <a:rPr lang="fr-FR" sz="2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14:m xmlns:a14="http://schemas.microsoft.com/office/drawing/2010/main">
            <m:oMath xmlns:m="http://schemas.openxmlformats.org/officeDocument/2006/math">
              <m:r>
                <a:rPr lang="fr-FR" sz="2300" b="1" i="1" kern="1200" smtClean="0">
                  <a:latin typeface="Cambria Math" panose="02040503050406030204" pitchFamily="18" charset="0"/>
                </a:rPr>
                <m:t>𝑰</m:t>
              </m:r>
            </m:oMath>
          </a14:m>
          <a:r>
            <a:rPr lang="fr-FR" sz="2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312747" y="291572"/>
        <a:ext cx="1392290" cy="1392290"/>
      </dsp:txXfrm>
    </dsp:sp>
    <dsp:sp modelId="{B3CBBF77-035F-6A46-AD2D-E8B54C789E8A}">
      <dsp:nvSpPr>
        <dsp:cNvPr id="0" name=""/>
        <dsp:cNvSpPr/>
      </dsp:nvSpPr>
      <dsp:spPr>
        <a:xfrm>
          <a:off x="437883" y="2132097"/>
          <a:ext cx="1142017" cy="1142017"/>
        </a:xfrm>
        <a:prstGeom prst="mathPlus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900" kern="1200"/>
        </a:p>
      </dsp:txBody>
      <dsp:txXfrm>
        <a:off x="589257" y="2568804"/>
        <a:ext cx="839269" cy="268603"/>
      </dsp:txXfrm>
    </dsp:sp>
    <dsp:sp modelId="{1B53E50B-6D8C-4A4E-B375-7016DBE7469A}">
      <dsp:nvSpPr>
        <dsp:cNvPr id="0" name=""/>
        <dsp:cNvSpPr/>
      </dsp:nvSpPr>
      <dsp:spPr>
        <a:xfrm>
          <a:off x="24394" y="3433997"/>
          <a:ext cx="1968996" cy="1968996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 err="1">
              <a:latin typeface="Arial" panose="020B0604020202020204" pitchFamily="34" charset="0"/>
              <a:cs typeface="Arial" panose="020B0604020202020204" pitchFamily="34" charset="0"/>
            </a:rPr>
            <a:t>Statistical</a:t>
          </a:r>
          <a:r>
            <a:rPr lang="fr-FR" sz="2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2300" kern="1200" dirty="0" err="1">
              <a:latin typeface="Arial" panose="020B0604020202020204" pitchFamily="34" charset="0"/>
              <a:cs typeface="Arial" panose="020B0604020202020204" pitchFamily="34" charset="0"/>
            </a:rPr>
            <a:t>methods</a:t>
          </a:r>
          <a:endParaRPr lang="fr-FR" sz="23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2747" y="3722350"/>
        <a:ext cx="1392290" cy="1392290"/>
      </dsp:txXfrm>
    </dsp:sp>
    <dsp:sp modelId="{7BBC3549-C1EE-134D-B733-0CC64996D41D}">
      <dsp:nvSpPr>
        <dsp:cNvPr id="0" name=""/>
        <dsp:cNvSpPr/>
      </dsp:nvSpPr>
      <dsp:spPr>
        <a:xfrm>
          <a:off x="2288740" y="2336873"/>
          <a:ext cx="626140" cy="7324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415426"/>
            <a:satOff val="-8871"/>
            <a:lumOff val="331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900" kern="1200"/>
        </a:p>
      </dsp:txBody>
      <dsp:txXfrm>
        <a:off x="2288740" y="2483366"/>
        <a:ext cx="438298" cy="439480"/>
      </dsp:txXfrm>
    </dsp:sp>
    <dsp:sp modelId="{DB3B3B5D-31A2-2046-B27A-F4BFF855A5A8}">
      <dsp:nvSpPr>
        <dsp:cNvPr id="0" name=""/>
        <dsp:cNvSpPr/>
      </dsp:nvSpPr>
      <dsp:spPr>
        <a:xfrm>
          <a:off x="3174788" y="734110"/>
          <a:ext cx="3937992" cy="3937992"/>
        </a:xfrm>
        <a:prstGeom prst="ellipse">
          <a:avLst/>
        </a:prstGeom>
        <a:solidFill>
          <a:schemeClr val="accent1">
            <a:hueOff val="0"/>
            <a:satOff val="0"/>
            <a:lumOff val="0"/>
            <a:alpha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000" kern="1200" dirty="0">
              <a:latin typeface="Arial" panose="020B0604020202020204" pitchFamily="34" charset="0"/>
              <a:cs typeface="Arial" panose="020B0604020202020204" pitchFamily="34" charset="0"/>
            </a:rPr>
            <a:t>Future: estimation of </a:t>
          </a:r>
          <a14:m xmlns:a14="http://schemas.microsoft.com/office/drawing/2010/main">
            <m:oMath xmlns:m="http://schemas.openxmlformats.org/officeDocument/2006/math">
              <m:r>
                <a:rPr lang="fr-FR" sz="4000" b="1" i="1" kern="1200" smtClean="0">
                  <a:latin typeface="Cambria Math" panose="02040503050406030204" pitchFamily="18" charset="0"/>
                </a:rPr>
                <m:t>𝑬</m:t>
              </m:r>
            </m:oMath>
          </a14:m>
          <a:r>
            <a:rPr lang="fr-FR" sz="40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4000" kern="1200" dirty="0" err="1">
              <a:latin typeface="Arial" panose="020B0604020202020204" pitchFamily="34" charset="0"/>
              <a:cs typeface="Arial" panose="020B0604020202020204" pitchFamily="34" charset="0"/>
            </a:rPr>
            <a:t>from</a:t>
          </a:r>
          <a:r>
            <a:rPr lang="fr-FR" sz="40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14:m xmlns:a14="http://schemas.microsoft.com/office/drawing/2010/main">
            <m:oMath xmlns:m="http://schemas.openxmlformats.org/officeDocument/2006/math">
              <m:r>
                <a:rPr lang="fr-FR" sz="4000" b="1" i="1" kern="1200" smtClean="0">
                  <a:latin typeface="Cambria Math" panose="02040503050406030204" pitchFamily="18" charset="0"/>
                </a:rPr>
                <m:t>𝑬</m:t>
              </m:r>
            </m:oMath>
          </a14:m>
          <a:endParaRPr lang="fr-FR" sz="4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51494" y="1310816"/>
        <a:ext cx="2784580" cy="27845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07FA14-96D4-D94A-8EBA-10A27156D47E}">
      <dsp:nvSpPr>
        <dsp:cNvPr id="0" name=""/>
        <dsp:cNvSpPr/>
      </dsp:nvSpPr>
      <dsp:spPr>
        <a:xfrm>
          <a:off x="0" y="1727568"/>
          <a:ext cx="1492193" cy="1492193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OFs</a:t>
          </a:r>
          <a:endParaRPr lang="fr-FR" sz="31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8527" y="1946095"/>
        <a:ext cx="1055139" cy="1055139"/>
      </dsp:txXfrm>
    </dsp:sp>
    <dsp:sp modelId="{C27DD661-3875-E649-9444-97057ABF57BD}">
      <dsp:nvSpPr>
        <dsp:cNvPr id="0" name=""/>
        <dsp:cNvSpPr/>
      </dsp:nvSpPr>
      <dsp:spPr>
        <a:xfrm rot="18764028">
          <a:off x="1119868" y="1611515"/>
          <a:ext cx="824653" cy="22542"/>
        </a:xfrm>
        <a:custGeom>
          <a:avLst/>
          <a:gdLst/>
          <a:ahLst/>
          <a:cxnLst/>
          <a:rect l="0" t="0" r="0" b="0"/>
          <a:pathLst>
            <a:path>
              <a:moveTo>
                <a:pt x="0" y="11271"/>
              </a:moveTo>
              <a:lnTo>
                <a:pt x="824653" y="11271"/>
              </a:lnTo>
            </a:path>
          </a:pathLst>
        </a:custGeom>
        <a:noFill/>
        <a:ln w="254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511578" y="1602169"/>
        <a:ext cx="41232" cy="41232"/>
      </dsp:txXfrm>
    </dsp:sp>
    <dsp:sp modelId="{9C658DBC-9B66-1440-B2AD-2EF5E1D9F5FB}">
      <dsp:nvSpPr>
        <dsp:cNvPr id="0" name=""/>
        <dsp:cNvSpPr/>
      </dsp:nvSpPr>
      <dsp:spPr>
        <a:xfrm>
          <a:off x="1572196" y="25810"/>
          <a:ext cx="1492193" cy="1492193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est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or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the least squares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ense</a:t>
          </a:r>
          <a:endParaRPr lang="fr-FR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90723" y="244337"/>
        <a:ext cx="1055139" cy="1055139"/>
      </dsp:txXfrm>
    </dsp:sp>
    <dsp:sp modelId="{B0438BA7-9E40-1644-AE6C-6235866FD33B}">
      <dsp:nvSpPr>
        <dsp:cNvPr id="0" name=""/>
        <dsp:cNvSpPr/>
      </dsp:nvSpPr>
      <dsp:spPr>
        <a:xfrm rot="1271713">
          <a:off x="1384604" y="3037426"/>
          <a:ext cx="1688764" cy="22542"/>
        </a:xfrm>
        <a:custGeom>
          <a:avLst/>
          <a:gdLst/>
          <a:ahLst/>
          <a:cxnLst/>
          <a:rect l="0" t="0" r="0" b="0"/>
          <a:pathLst>
            <a:path>
              <a:moveTo>
                <a:pt x="0" y="11271"/>
              </a:moveTo>
              <a:lnTo>
                <a:pt x="1688764" y="11271"/>
              </a:lnTo>
            </a:path>
          </a:pathLst>
        </a:custGeom>
        <a:noFill/>
        <a:ln w="254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600" kern="1200"/>
        </a:p>
      </dsp:txBody>
      <dsp:txXfrm>
        <a:off x="2186767" y="3006478"/>
        <a:ext cx="84438" cy="84438"/>
      </dsp:txXfrm>
    </dsp:sp>
    <dsp:sp modelId="{E4BF4D41-CF7A-F44C-B30B-2F238E47CE01}">
      <dsp:nvSpPr>
        <dsp:cNvPr id="0" name=""/>
        <dsp:cNvSpPr/>
      </dsp:nvSpPr>
      <dsp:spPr>
        <a:xfrm>
          <a:off x="2965779" y="2877633"/>
          <a:ext cx="1492193" cy="1492193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on’t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eed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model for the data</a:t>
          </a:r>
          <a:endParaRPr lang="fr-FR" sz="1400" kern="1200" dirty="0">
            <a:solidFill>
              <a:schemeClr val="tx1"/>
            </a:solidFill>
          </a:endParaRPr>
        </a:p>
      </dsp:txBody>
      <dsp:txXfrm>
        <a:off x="3184306" y="3096160"/>
        <a:ext cx="1055139" cy="1055139"/>
      </dsp:txXfrm>
    </dsp:sp>
    <dsp:sp modelId="{C3B76036-B83B-A249-9C98-00EE49DA89BF}">
      <dsp:nvSpPr>
        <dsp:cNvPr id="0" name=""/>
        <dsp:cNvSpPr/>
      </dsp:nvSpPr>
      <dsp:spPr>
        <a:xfrm rot="3271594">
          <a:off x="930333" y="3552692"/>
          <a:ext cx="1185407" cy="22542"/>
        </a:xfrm>
        <a:custGeom>
          <a:avLst/>
          <a:gdLst/>
          <a:ahLst/>
          <a:cxnLst/>
          <a:rect l="0" t="0" r="0" b="0"/>
          <a:pathLst>
            <a:path>
              <a:moveTo>
                <a:pt x="0" y="11271"/>
              </a:moveTo>
              <a:lnTo>
                <a:pt x="1185407" y="11271"/>
              </a:lnTo>
            </a:path>
          </a:pathLst>
        </a:custGeom>
        <a:noFill/>
        <a:ln w="254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1493401" y="3534328"/>
        <a:ext cx="59270" cy="59270"/>
      </dsp:txXfrm>
    </dsp:sp>
    <dsp:sp modelId="{AFA8A96F-4F04-E84B-8B04-B86D842C2B34}">
      <dsp:nvSpPr>
        <dsp:cNvPr id="0" name=""/>
        <dsp:cNvSpPr/>
      </dsp:nvSpPr>
      <dsp:spPr>
        <a:xfrm>
          <a:off x="1553879" y="3908165"/>
          <a:ext cx="1492193" cy="1492193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llows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he incorporation of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ifferent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ypes of data</a:t>
          </a:r>
          <a:endParaRPr lang="fr-FR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72406" y="4126692"/>
        <a:ext cx="1055139" cy="1055139"/>
      </dsp:txXfrm>
    </dsp:sp>
    <dsp:sp modelId="{6CF50741-BD12-0D48-85C7-70F72BCA611B}">
      <dsp:nvSpPr>
        <dsp:cNvPr id="0" name=""/>
        <dsp:cNvSpPr/>
      </dsp:nvSpPr>
      <dsp:spPr>
        <a:xfrm rot="21032557">
          <a:off x="1471685" y="2214469"/>
          <a:ext cx="1525496" cy="22542"/>
        </a:xfrm>
        <a:custGeom>
          <a:avLst/>
          <a:gdLst/>
          <a:ahLst/>
          <a:cxnLst/>
          <a:rect l="0" t="0" r="0" b="0"/>
          <a:pathLst>
            <a:path>
              <a:moveTo>
                <a:pt x="0" y="11271"/>
              </a:moveTo>
              <a:lnTo>
                <a:pt x="1525496" y="11271"/>
              </a:lnTo>
            </a:path>
          </a:pathLst>
        </a:custGeom>
        <a:noFill/>
        <a:ln w="254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196296" y="2187603"/>
        <a:ext cx="76274" cy="76274"/>
      </dsp:txXfrm>
    </dsp:sp>
    <dsp:sp modelId="{D103220A-237F-D24A-9EFB-9DA96CE1D478}">
      <dsp:nvSpPr>
        <dsp:cNvPr id="0" name=""/>
        <dsp:cNvSpPr/>
      </dsp:nvSpPr>
      <dsp:spPr>
        <a:xfrm>
          <a:off x="2976673" y="1231719"/>
          <a:ext cx="1492193" cy="1492193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ossible to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e</a:t>
          </a:r>
          <a14:m xmlns:a14="http://schemas.microsoft.com/office/drawing/2010/main">
            <m:oMath xmlns:m="http://schemas.openxmlformats.org/officeDocument/2006/math">
              <m:r>
                <a:rPr lang="fr-FR" sz="1400" b="0" i="0" kern="1200" smtClean="0">
                  <a:solidFill>
                    <a:schemeClr val="tx1"/>
                  </a:solidFill>
                  <a:latin typeface="Cambria Math" panose="02040503050406030204" pitchFamily="18" charset="0"/>
                  <a:cs typeface="Arial" panose="020B0604020202020204" pitchFamily="34" charset="0"/>
                </a:rPr>
                <m:t> </m:t>
              </m:r>
              <m:r>
                <a:rPr lang="fr-FR" sz="1400" b="1" i="1" kern="1200" smtClean="0">
                  <a:solidFill>
                    <a:schemeClr val="tx1"/>
                  </a:solidFill>
                  <a:latin typeface="Cambria Math" panose="02040503050406030204" pitchFamily="18" charset="0"/>
                  <a:cs typeface="Arial" panose="020B0604020202020204" pitchFamily="34" charset="0"/>
                </a:rPr>
                <m:t>𝑬</m:t>
              </m:r>
            </m:oMath>
          </a14:m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t </a:t>
          </a:r>
          <a:r>
            <a:rPr lang="fr-FR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very</a:t>
          </a:r>
          <a:r>
            <a:rPr lang="fr-FR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ixel</a:t>
          </a:r>
          <a:endParaRPr lang="fr-FR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95200" y="1450246"/>
        <a:ext cx="1055139" cy="10551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95E2AD-FC13-1C42-80C5-5FFC142CA7C4}">
      <dsp:nvSpPr>
        <dsp:cNvPr id="0" name=""/>
        <dsp:cNvSpPr/>
      </dsp:nvSpPr>
      <dsp:spPr>
        <a:xfrm>
          <a:off x="2184572" y="552971"/>
          <a:ext cx="1047722" cy="10477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latin typeface="Arial" panose="020B0604020202020204" pitchFamily="34" charset="0"/>
              <a:cs typeface="Arial" panose="020B0604020202020204" pitchFamily="34" charset="0"/>
            </a:rPr>
            <a:t>Control</a:t>
          </a:r>
        </a:p>
      </dsp:txBody>
      <dsp:txXfrm>
        <a:off x="2184572" y="552971"/>
        <a:ext cx="1047722" cy="1047722"/>
      </dsp:txXfrm>
    </dsp:sp>
    <dsp:sp modelId="{055BB834-E3B0-104F-ACA1-4D66CF0865A0}">
      <dsp:nvSpPr>
        <dsp:cNvPr id="0" name=""/>
        <dsp:cNvSpPr/>
      </dsp:nvSpPr>
      <dsp:spPr>
        <a:xfrm>
          <a:off x="776168" y="34"/>
          <a:ext cx="2153596" cy="2153596"/>
        </a:xfrm>
        <a:prstGeom prst="circularArrow">
          <a:avLst>
            <a:gd name="adj1" fmla="val 9487"/>
            <a:gd name="adj2" fmla="val 685314"/>
            <a:gd name="adj3" fmla="val 7849026"/>
            <a:gd name="adj4" fmla="val 2265659"/>
            <a:gd name="adj5" fmla="val 11068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accent4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245290-2C4F-7945-95F8-4600E8000879}">
      <dsp:nvSpPr>
        <dsp:cNvPr id="0" name=""/>
        <dsp:cNvSpPr/>
      </dsp:nvSpPr>
      <dsp:spPr>
        <a:xfrm>
          <a:off x="473638" y="552971"/>
          <a:ext cx="1047722" cy="10477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imation</a:t>
          </a:r>
        </a:p>
      </dsp:txBody>
      <dsp:txXfrm>
        <a:off x="473638" y="552971"/>
        <a:ext cx="1047722" cy="1047722"/>
      </dsp:txXfrm>
    </dsp:sp>
    <dsp:sp modelId="{733452D7-8B5B-2247-A44E-E8D42379B48F}">
      <dsp:nvSpPr>
        <dsp:cNvPr id="0" name=""/>
        <dsp:cNvSpPr/>
      </dsp:nvSpPr>
      <dsp:spPr>
        <a:xfrm>
          <a:off x="776168" y="34"/>
          <a:ext cx="2153596" cy="2153596"/>
        </a:xfrm>
        <a:prstGeom prst="circularArrow">
          <a:avLst>
            <a:gd name="adj1" fmla="val 9487"/>
            <a:gd name="adj2" fmla="val 685314"/>
            <a:gd name="adj3" fmla="val 18649026"/>
            <a:gd name="adj4" fmla="val 13065659"/>
            <a:gd name="adj5" fmla="val 11068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accent4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CB4571-B1B8-5640-8934-C189DFA5344F}">
      <dsp:nvSpPr>
        <dsp:cNvPr id="0" name=""/>
        <dsp:cNvSpPr/>
      </dsp:nvSpPr>
      <dsp:spPr>
        <a:xfrm>
          <a:off x="0" y="1748150"/>
          <a:ext cx="4931672" cy="1972669"/>
        </a:xfrm>
        <a:prstGeom prst="chevron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DULE CREAT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endParaRPr lang="fr-FR" sz="18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sing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ython &amp;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ciPy</a:t>
          </a:r>
          <a:endParaRPr lang="fr-FR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cludes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commodating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unctions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(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itialization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SVD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uncature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etc…)</a:t>
          </a:r>
          <a:endParaRPr lang="fr-FR" sz="1800" kern="1200" dirty="0"/>
        </a:p>
      </dsp:txBody>
      <dsp:txXfrm>
        <a:off x="986335" y="1748150"/>
        <a:ext cx="2959003" cy="1972669"/>
      </dsp:txXfrm>
    </dsp:sp>
    <dsp:sp modelId="{0AB1165E-BC8B-D54C-9E35-D7E8E7BB97EA}">
      <dsp:nvSpPr>
        <dsp:cNvPr id="0" name=""/>
        <dsp:cNvSpPr/>
      </dsp:nvSpPr>
      <dsp:spPr>
        <a:xfrm>
          <a:off x="4455005" y="1611562"/>
          <a:ext cx="4931672" cy="1972669"/>
        </a:xfrm>
        <a:prstGeom prst="chevron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MPLEMENTATION ON THE TESTBED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endParaRPr lang="fr-FR" sz="18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sing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Version Control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Can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irectly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all the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unctions</a:t>
          </a:r>
          <a:r>
            <a:rPr lang="fr-FR" sz="1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the main </a:t>
          </a:r>
          <a:r>
            <a:rPr lang="fr-FR" sz="18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ranch</a:t>
          </a:r>
          <a:endParaRPr lang="fr-FR" sz="1800" kern="1200" dirty="0"/>
        </a:p>
      </dsp:txBody>
      <dsp:txXfrm>
        <a:off x="5441340" y="1611562"/>
        <a:ext cx="2959003" cy="197266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0D0D7-E055-4742-AEDB-965F15627B40}">
      <dsp:nvSpPr>
        <dsp:cNvPr id="0" name=""/>
        <dsp:cNvSpPr/>
      </dsp:nvSpPr>
      <dsp:spPr>
        <a:xfrm>
          <a:off x="0" y="0"/>
          <a:ext cx="5867293" cy="1011963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 dirty="0">
              <a:latin typeface="Arial" panose="020B0604020202020204" pitchFamily="34" charset="0"/>
              <a:cs typeface="Arial" panose="020B0604020202020204" pitchFamily="34" charset="0"/>
            </a:rPr>
            <a:t>UNDERSTOOD</a:t>
          </a:r>
        </a:p>
      </dsp:txBody>
      <dsp:txXfrm>
        <a:off x="29639" y="29639"/>
        <a:ext cx="4689795" cy="952685"/>
      </dsp:txXfrm>
    </dsp:sp>
    <dsp:sp modelId="{7BDE0E46-F866-1E47-B7F4-811B0D49730F}">
      <dsp:nvSpPr>
        <dsp:cNvPr id="0" name=""/>
        <dsp:cNvSpPr/>
      </dsp:nvSpPr>
      <dsp:spPr>
        <a:xfrm>
          <a:off x="491385" y="1195957"/>
          <a:ext cx="5867293" cy="1011963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 dirty="0">
              <a:latin typeface="Arial" panose="020B0604020202020204" pitchFamily="34" charset="0"/>
              <a:cs typeface="Arial" panose="020B0604020202020204" pitchFamily="34" charset="0"/>
            </a:rPr>
            <a:t>VALIDATED</a:t>
          </a:r>
        </a:p>
      </dsp:txBody>
      <dsp:txXfrm>
        <a:off x="521024" y="1225596"/>
        <a:ext cx="4658853" cy="952685"/>
      </dsp:txXfrm>
    </dsp:sp>
    <dsp:sp modelId="{8984801E-415E-BF47-B7B2-0EE43385BF33}">
      <dsp:nvSpPr>
        <dsp:cNvPr id="0" name=""/>
        <dsp:cNvSpPr/>
      </dsp:nvSpPr>
      <dsp:spPr>
        <a:xfrm>
          <a:off x="975437" y="2391914"/>
          <a:ext cx="5867293" cy="1011963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 dirty="0">
              <a:latin typeface="Arial" panose="020B0604020202020204" pitchFamily="34" charset="0"/>
              <a:cs typeface="Arial" panose="020B0604020202020204" pitchFamily="34" charset="0"/>
            </a:rPr>
            <a:t>IMPLEMENTED</a:t>
          </a:r>
        </a:p>
      </dsp:txBody>
      <dsp:txXfrm>
        <a:off x="1005076" y="2421553"/>
        <a:ext cx="4666187" cy="952685"/>
      </dsp:txXfrm>
    </dsp:sp>
    <dsp:sp modelId="{1B435301-9FAF-7446-8AA1-6AF94B8E1841}">
      <dsp:nvSpPr>
        <dsp:cNvPr id="0" name=""/>
        <dsp:cNvSpPr/>
      </dsp:nvSpPr>
      <dsp:spPr>
        <a:xfrm>
          <a:off x="1466823" y="3587872"/>
          <a:ext cx="5867293" cy="1011963"/>
        </a:xfrm>
        <a:prstGeom prst="roundRect">
          <a:avLst>
            <a:gd name="adj" fmla="val 10000"/>
          </a:avLst>
        </a:prstGeom>
        <a:solidFill>
          <a:schemeClr val="accent3">
            <a:lumMod val="75000"/>
            <a:alpha val="73000"/>
          </a:schemeClr>
        </a:solidFill>
        <a:ln w="12700" cap="flat" cmpd="sng" algn="ctr">
          <a:solidFill>
            <a:schemeClr val="accent3">
              <a:lumMod val="50000"/>
            </a:schemeClr>
          </a:solidFill>
          <a:prstDash val="sys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500" kern="1200" dirty="0">
              <a:latin typeface="Arial" panose="020B0604020202020204" pitchFamily="34" charset="0"/>
              <a:cs typeface="Arial" panose="020B0604020202020204" pitchFamily="34" charset="0"/>
            </a:rPr>
            <a:t>FINE-TUNED</a:t>
          </a:r>
        </a:p>
      </dsp:txBody>
      <dsp:txXfrm>
        <a:off x="1496462" y="3617511"/>
        <a:ext cx="4658853" cy="952685"/>
      </dsp:txXfrm>
    </dsp:sp>
    <dsp:sp modelId="{E22683F9-73FF-2743-863C-A01ACADF747E}">
      <dsp:nvSpPr>
        <dsp:cNvPr id="0" name=""/>
        <dsp:cNvSpPr/>
      </dsp:nvSpPr>
      <dsp:spPr>
        <a:xfrm>
          <a:off x="5209517" y="775072"/>
          <a:ext cx="657776" cy="657776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3000" kern="1200"/>
        </a:p>
      </dsp:txBody>
      <dsp:txXfrm>
        <a:off x="5357517" y="775072"/>
        <a:ext cx="361776" cy="494976"/>
      </dsp:txXfrm>
    </dsp:sp>
    <dsp:sp modelId="{DD96BDB6-1057-244E-9CC0-20173E1D0F81}">
      <dsp:nvSpPr>
        <dsp:cNvPr id="0" name=""/>
        <dsp:cNvSpPr/>
      </dsp:nvSpPr>
      <dsp:spPr>
        <a:xfrm>
          <a:off x="5700902" y="1971029"/>
          <a:ext cx="657776" cy="657776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3000" kern="1200"/>
        </a:p>
      </dsp:txBody>
      <dsp:txXfrm>
        <a:off x="5848902" y="1971029"/>
        <a:ext cx="361776" cy="494976"/>
      </dsp:txXfrm>
    </dsp:sp>
    <dsp:sp modelId="{49CCD31D-6B2C-6A4B-8B30-5CD8A6720CDC}">
      <dsp:nvSpPr>
        <dsp:cNvPr id="0" name=""/>
        <dsp:cNvSpPr/>
      </dsp:nvSpPr>
      <dsp:spPr>
        <a:xfrm>
          <a:off x="6184954" y="3166987"/>
          <a:ext cx="657776" cy="657776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3000" kern="1200"/>
        </a:p>
      </dsp:txBody>
      <dsp:txXfrm>
        <a:off x="6332954" y="3166987"/>
        <a:ext cx="361776" cy="49497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4A5846-590D-BB4F-AAEC-FA19FD337DBE}">
      <dsp:nvSpPr>
        <dsp:cNvPr id="0" name=""/>
        <dsp:cNvSpPr/>
      </dsp:nvSpPr>
      <dsp:spPr>
        <a:xfrm>
          <a:off x="4883" y="2405879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tradeoff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between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code architecture and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optics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architecture</a:t>
          </a:r>
        </a:p>
      </dsp:txBody>
      <dsp:txXfrm>
        <a:off x="34284" y="2435280"/>
        <a:ext cx="1948818" cy="945008"/>
      </dsp:txXfrm>
    </dsp:sp>
    <dsp:sp modelId="{411B846B-1EAC-A54A-8050-A1EFF4F9BF73}">
      <dsp:nvSpPr>
        <dsp:cNvPr id="0" name=""/>
        <dsp:cNvSpPr/>
      </dsp:nvSpPr>
      <dsp:spPr>
        <a:xfrm rot="18289469">
          <a:off x="1710913" y="2315058"/>
          <a:ext cx="1406230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1406230" y="1553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78872" y="2295437"/>
        <a:ext cx="70311" cy="70311"/>
      </dsp:txXfrm>
    </dsp:sp>
    <dsp:sp modelId="{D4CDE47B-C7C4-F145-9C90-B875989FD319}">
      <dsp:nvSpPr>
        <dsp:cNvPr id="0" name=""/>
        <dsp:cNvSpPr/>
      </dsp:nvSpPr>
      <dsp:spPr>
        <a:xfrm>
          <a:off x="2815552" y="1251497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Determine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i="1" kern="1200" dirty="0">
              <a:latin typeface="Arial" panose="020B0604020202020204" pitchFamily="34" charset="0"/>
              <a:cs typeface="Arial" panose="020B0604020202020204" pitchFamily="34" charset="0"/>
            </a:rPr>
            <a:t>good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filter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parameters</a:t>
          </a:r>
          <a:endParaRPr lang="fr-FR" sz="17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44953" y="1280898"/>
        <a:ext cx="1948818" cy="945008"/>
      </dsp:txXfrm>
    </dsp:sp>
    <dsp:sp modelId="{11B3F8D4-AC2A-E540-97EC-ECB4181147E0}">
      <dsp:nvSpPr>
        <dsp:cNvPr id="0" name=""/>
        <dsp:cNvSpPr/>
      </dsp:nvSpPr>
      <dsp:spPr>
        <a:xfrm rot="19457599">
          <a:off x="4730218" y="1449272"/>
          <a:ext cx="988957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988957" y="15534"/>
              </a:lnTo>
            </a:path>
          </a:pathLst>
        </a:custGeom>
        <a:noFill/>
        <a:ln w="127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199973" y="1440083"/>
        <a:ext cx="49447" cy="49447"/>
      </dsp:txXfrm>
    </dsp:sp>
    <dsp:sp modelId="{6BE75F2C-D3F5-914D-95C8-B702799F181F}">
      <dsp:nvSpPr>
        <dsp:cNvPr id="0" name=""/>
        <dsp:cNvSpPr/>
      </dsp:nvSpPr>
      <dsp:spPr>
        <a:xfrm>
          <a:off x="5626221" y="674306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i="0" kern="1200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sz="1700" i="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i="1" kern="1200" dirty="0">
              <a:latin typeface="Arial" panose="020B0604020202020204" pitchFamily="34" charset="0"/>
              <a:cs typeface="Arial" panose="020B0604020202020204" pitchFamily="34" charset="0"/>
            </a:rPr>
            <a:t>right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number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of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vectors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in the training set</a:t>
          </a:r>
        </a:p>
      </dsp:txBody>
      <dsp:txXfrm>
        <a:off x="5655622" y="703707"/>
        <a:ext cx="1948818" cy="945008"/>
      </dsp:txXfrm>
    </dsp:sp>
    <dsp:sp modelId="{C9E21D27-888C-3E42-B001-29C7BBE9956D}">
      <dsp:nvSpPr>
        <dsp:cNvPr id="0" name=""/>
        <dsp:cNvSpPr/>
      </dsp:nvSpPr>
      <dsp:spPr>
        <a:xfrm>
          <a:off x="7633842" y="1160676"/>
          <a:ext cx="803048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803048" y="15534"/>
              </a:lnTo>
            </a:path>
          </a:pathLst>
        </a:custGeom>
        <a:noFill/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8015290" y="1156135"/>
        <a:ext cx="40152" cy="40152"/>
      </dsp:txXfrm>
    </dsp:sp>
    <dsp:sp modelId="{2D90B074-74F2-ED45-8A4C-32D2A95902C6}">
      <dsp:nvSpPr>
        <dsp:cNvPr id="0" name=""/>
        <dsp:cNvSpPr/>
      </dsp:nvSpPr>
      <dsp:spPr>
        <a:xfrm>
          <a:off x="8436890" y="674306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3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Study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autocorrelation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in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history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vectors</a:t>
          </a:r>
          <a:endParaRPr lang="fr-FR" sz="17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466291" y="703707"/>
        <a:ext cx="1948818" cy="945008"/>
      </dsp:txXfrm>
    </dsp:sp>
    <dsp:sp modelId="{A2CCD7D5-ED6D-E346-A49E-6458E81CEE26}">
      <dsp:nvSpPr>
        <dsp:cNvPr id="0" name=""/>
        <dsp:cNvSpPr/>
      </dsp:nvSpPr>
      <dsp:spPr>
        <a:xfrm rot="2142401">
          <a:off x="4730218" y="2026463"/>
          <a:ext cx="988957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988957" y="15534"/>
              </a:lnTo>
            </a:path>
          </a:pathLst>
        </a:custGeom>
        <a:noFill/>
        <a:ln w="127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199973" y="2017274"/>
        <a:ext cx="49447" cy="49447"/>
      </dsp:txXfrm>
    </dsp:sp>
    <dsp:sp modelId="{C12584C7-4EE3-404C-8B4C-3B3A48ECA012}">
      <dsp:nvSpPr>
        <dsp:cNvPr id="0" name=""/>
        <dsp:cNvSpPr/>
      </dsp:nvSpPr>
      <dsp:spPr>
        <a:xfrm>
          <a:off x="5626221" y="1828688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i="0" kern="1200" dirty="0" err="1">
              <a:latin typeface="Arial" panose="020B0604020202020204" pitchFamily="34" charset="0"/>
              <a:cs typeface="Arial" panose="020B0604020202020204" pitchFamily="34" charset="0"/>
            </a:rPr>
            <a:t>Find</a:t>
          </a:r>
          <a:r>
            <a:rPr lang="fr-FR" sz="1700" i="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i="1" kern="1200" dirty="0">
              <a:latin typeface="Arial" panose="020B0604020202020204" pitchFamily="34" charset="0"/>
              <a:cs typeface="Arial" panose="020B0604020202020204" pitchFamily="34" charset="0"/>
            </a:rPr>
            <a:t>right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value for the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regularization</a:t>
          </a:r>
          <a:endParaRPr lang="fr-FR" sz="17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55622" y="1858089"/>
        <a:ext cx="1948818" cy="945008"/>
      </dsp:txXfrm>
    </dsp:sp>
    <dsp:sp modelId="{112B48E6-1F6C-2F44-AD14-6C3BB3189C9B}">
      <dsp:nvSpPr>
        <dsp:cNvPr id="0" name=""/>
        <dsp:cNvSpPr/>
      </dsp:nvSpPr>
      <dsp:spPr>
        <a:xfrm>
          <a:off x="7633842" y="2315058"/>
          <a:ext cx="803048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803048" y="15534"/>
              </a:lnTo>
            </a:path>
          </a:pathLst>
        </a:custGeom>
        <a:noFill/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8015290" y="2310517"/>
        <a:ext cx="40152" cy="40152"/>
      </dsp:txXfrm>
    </dsp:sp>
    <dsp:sp modelId="{0C9CCF29-7A6F-854A-A155-4B11A33BB417}">
      <dsp:nvSpPr>
        <dsp:cNvPr id="0" name=""/>
        <dsp:cNvSpPr/>
      </dsp:nvSpPr>
      <dsp:spPr>
        <a:xfrm>
          <a:off x="8436890" y="1828688"/>
          <a:ext cx="2007620" cy="1003810"/>
        </a:xfrm>
        <a:prstGeom prst="roundRect">
          <a:avLst>
            <a:gd name="adj" fmla="val 10000"/>
          </a:avLst>
        </a:prstGeom>
        <a:solidFill>
          <a:schemeClr val="accent1">
            <a:alpha val="3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Study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filter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"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breakpoint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"</a:t>
          </a:r>
        </a:p>
      </dsp:txBody>
      <dsp:txXfrm>
        <a:off x="8466291" y="1858089"/>
        <a:ext cx="1948818" cy="945008"/>
      </dsp:txXfrm>
    </dsp:sp>
    <dsp:sp modelId="{72D349D0-F040-6541-A771-55CDD01B7CE4}">
      <dsp:nvSpPr>
        <dsp:cNvPr id="0" name=""/>
        <dsp:cNvSpPr/>
      </dsp:nvSpPr>
      <dsp:spPr>
        <a:xfrm rot="3310531">
          <a:off x="1710913" y="3469440"/>
          <a:ext cx="1406230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1406230" y="1553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378872" y="3449819"/>
        <a:ext cx="70311" cy="70311"/>
      </dsp:txXfrm>
    </dsp:sp>
    <dsp:sp modelId="{3BC04BCC-7F4D-7043-83EC-DB7753B1611B}">
      <dsp:nvSpPr>
        <dsp:cNvPr id="0" name=""/>
        <dsp:cNvSpPr/>
      </dsp:nvSpPr>
      <dsp:spPr>
        <a:xfrm>
          <a:off x="2815552" y="3560261"/>
          <a:ext cx="2007620" cy="1003810"/>
        </a:xfrm>
        <a:prstGeom prst="roundRect">
          <a:avLst>
            <a:gd name="adj" fmla="val 10000"/>
          </a:avLst>
        </a:prstGeom>
        <a:solidFill>
          <a:schemeClr val="bg2">
            <a:lumMod val="50000"/>
            <a:alpha val="7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Determine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optimal architecture</a:t>
          </a:r>
        </a:p>
      </dsp:txBody>
      <dsp:txXfrm>
        <a:off x="2844953" y="3589662"/>
        <a:ext cx="1948818" cy="945008"/>
      </dsp:txXfrm>
    </dsp:sp>
    <dsp:sp modelId="{FD468C69-85BA-0744-BC49-44623E8463F7}">
      <dsp:nvSpPr>
        <dsp:cNvPr id="0" name=""/>
        <dsp:cNvSpPr/>
      </dsp:nvSpPr>
      <dsp:spPr>
        <a:xfrm rot="19457599">
          <a:off x="4730218" y="3758036"/>
          <a:ext cx="988957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988957" y="15534"/>
              </a:lnTo>
            </a:path>
          </a:pathLst>
        </a:custGeom>
        <a:noFill/>
        <a:ln w="127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199973" y="3748847"/>
        <a:ext cx="49447" cy="49447"/>
      </dsp:txXfrm>
    </dsp:sp>
    <dsp:sp modelId="{1B5C65B4-028E-1C4B-AA2C-58822BE77068}">
      <dsp:nvSpPr>
        <dsp:cNvPr id="0" name=""/>
        <dsp:cNvSpPr/>
      </dsp:nvSpPr>
      <dsp:spPr>
        <a:xfrm>
          <a:off x="5626221" y="2983070"/>
          <a:ext cx="2007620" cy="1003810"/>
        </a:xfrm>
        <a:prstGeom prst="roundRect">
          <a:avLst>
            <a:gd name="adj" fmla="val 10000"/>
          </a:avLst>
        </a:prstGeom>
        <a:solidFill>
          <a:schemeClr val="bg2">
            <a:lumMod val="5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Research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on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optics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and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materials</a:t>
          </a:r>
          <a:endParaRPr lang="fr-FR" sz="17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55622" y="3012471"/>
        <a:ext cx="1948818" cy="945008"/>
      </dsp:txXfrm>
    </dsp:sp>
    <dsp:sp modelId="{E20DF506-751A-D444-A3C7-26A98E41D7E7}">
      <dsp:nvSpPr>
        <dsp:cNvPr id="0" name=""/>
        <dsp:cNvSpPr/>
      </dsp:nvSpPr>
      <dsp:spPr>
        <a:xfrm>
          <a:off x="7633842" y="3469440"/>
          <a:ext cx="803048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803048" y="15534"/>
              </a:lnTo>
            </a:path>
          </a:pathLst>
        </a:custGeom>
        <a:noFill/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8015290" y="3464899"/>
        <a:ext cx="40152" cy="40152"/>
      </dsp:txXfrm>
    </dsp:sp>
    <dsp:sp modelId="{8E909C63-A2C3-DB4A-BD7E-731104101872}">
      <dsp:nvSpPr>
        <dsp:cNvPr id="0" name=""/>
        <dsp:cNvSpPr/>
      </dsp:nvSpPr>
      <dsp:spPr>
        <a:xfrm>
          <a:off x="8436890" y="2983070"/>
          <a:ext cx="2007620" cy="1003810"/>
        </a:xfrm>
        <a:prstGeom prst="roundRect">
          <a:avLst>
            <a:gd name="adj" fmla="val 10000"/>
          </a:avLst>
        </a:prstGeom>
        <a:solidFill>
          <a:schemeClr val="bg2">
            <a:lumMod val="50000"/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Investigate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segmented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apertures</a:t>
          </a:r>
        </a:p>
      </dsp:txBody>
      <dsp:txXfrm>
        <a:off x="8466291" y="3012471"/>
        <a:ext cx="1948818" cy="945008"/>
      </dsp:txXfrm>
    </dsp:sp>
    <dsp:sp modelId="{7E8D51B4-ED85-5148-BF7D-7038ACAE7E70}">
      <dsp:nvSpPr>
        <dsp:cNvPr id="0" name=""/>
        <dsp:cNvSpPr/>
      </dsp:nvSpPr>
      <dsp:spPr>
        <a:xfrm rot="2142401">
          <a:off x="4730218" y="4335227"/>
          <a:ext cx="988957" cy="31069"/>
        </a:xfrm>
        <a:custGeom>
          <a:avLst/>
          <a:gdLst/>
          <a:ahLst/>
          <a:cxnLst/>
          <a:rect l="0" t="0" r="0" b="0"/>
          <a:pathLst>
            <a:path>
              <a:moveTo>
                <a:pt x="0" y="15534"/>
              </a:moveTo>
              <a:lnTo>
                <a:pt x="988957" y="15534"/>
              </a:lnTo>
            </a:path>
          </a:pathLst>
        </a:custGeom>
        <a:noFill/>
        <a:ln w="12700" cap="flat" cmpd="sng" algn="ctr">
          <a:solidFill>
            <a:schemeClr val="accent1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199973" y="4326037"/>
        <a:ext cx="49447" cy="49447"/>
      </dsp:txXfrm>
    </dsp:sp>
    <dsp:sp modelId="{27A832C6-78B5-C34A-AD0F-D0A593CCE64A}">
      <dsp:nvSpPr>
        <dsp:cNvPr id="0" name=""/>
        <dsp:cNvSpPr/>
      </dsp:nvSpPr>
      <dsp:spPr>
        <a:xfrm>
          <a:off x="5626221" y="4137452"/>
          <a:ext cx="2007620" cy="1003810"/>
        </a:xfrm>
        <a:prstGeom prst="roundRect">
          <a:avLst>
            <a:gd name="adj" fmla="val 10000"/>
          </a:avLst>
        </a:prstGeom>
        <a:solidFill>
          <a:schemeClr val="bg2">
            <a:lumMod val="5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Which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computation power do </a:t>
          </a:r>
          <a:r>
            <a:rPr lang="fr-FR" sz="1700" kern="1200" dirty="0" err="1">
              <a:latin typeface="Arial" panose="020B0604020202020204" pitchFamily="34" charset="0"/>
              <a:cs typeface="Arial" panose="020B0604020202020204" pitchFamily="34" charset="0"/>
            </a:rPr>
            <a:t>we</a:t>
          </a: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 have? </a:t>
          </a:r>
        </a:p>
      </dsp:txBody>
      <dsp:txXfrm>
        <a:off x="5655622" y="4166853"/>
        <a:ext cx="1948818" cy="9450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CEC2A5-1E93-5E4D-9DF2-9409E28C3FF5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32EA85-1E38-064B-835B-13C6312885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5785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4644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0494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2897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7908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3856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7530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8958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2211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2859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342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9964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08ED8EA1-219D-45F0-8C33-B808082E26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4675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Diapositive think-cell" r:id="rId16" imgW="416" imgH="416" progId="TCLayout.ActiveDocument.1">
                  <p:embed/>
                </p:oleObj>
              </mc:Choice>
              <mc:Fallback>
                <p:oleObj name="Diapositive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6D34EF-F634-4F6A-B43A-3FFADE92B20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7D42AA-DFCA-EB4B-B61B-441492882F0E}" type="datetimeFigureOut">
              <a:rPr lang="fr-FR" smtClean="0"/>
              <a:t>16/09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817D9-CDCF-5341-9016-543C1CE5F4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6101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4.png"/><Relationship Id="rId9" Type="http://schemas.openxmlformats.org/officeDocument/2006/relationships/image" Target="../media/image2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2.xml"/><Relationship Id="rId17" Type="http://schemas.openxmlformats.org/officeDocument/2006/relationships/image" Target="../media/image34.svg"/><Relationship Id="rId2" Type="http://schemas.openxmlformats.org/officeDocument/2006/relationships/tags" Target="../tags/tag20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14.v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1.emf"/><Relationship Id="rId15" Type="http://schemas.openxmlformats.org/officeDocument/2006/relationships/image" Target="../media/image320.png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microsoft.com/office/2007/relationships/diagramDrawing" Target="../diagrams/drawing3.xm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6.png"/><Relationship Id="rId12" Type="http://schemas.openxmlformats.org/officeDocument/2006/relationships/diagramColors" Target="../diagrams/colors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5.pn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1.emf"/><Relationship Id="rId10" Type="http://schemas.openxmlformats.org/officeDocument/2006/relationships/diagramLayout" Target="../diagrams/layout3.xml"/><Relationship Id="rId4" Type="http://schemas.openxmlformats.org/officeDocument/2006/relationships/oleObject" Target="../embeddings/oleObject7.bin"/><Relationship Id="rId9" Type="http://schemas.openxmlformats.org/officeDocument/2006/relationships/diagramData" Target="../diagrams/data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3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svg"/><Relationship Id="rId12" Type="http://schemas.openxmlformats.org/officeDocument/2006/relationships/image" Target="../media/image3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11" Type="http://schemas.openxmlformats.org/officeDocument/2006/relationships/image" Target="../media/image39.png"/><Relationship Id="rId5" Type="http://schemas.openxmlformats.org/officeDocument/2006/relationships/image" Target="../media/image1.emf"/><Relationship Id="rId10" Type="http://schemas.openxmlformats.org/officeDocument/2006/relationships/image" Target="../media/image20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microsoft.com/office/2007/relationships/diagramDrawing" Target="../diagrams/drawing4.xm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1.png"/><Relationship Id="rId12" Type="http://schemas.openxmlformats.org/officeDocument/2006/relationships/diagramColors" Target="../diagrams/colors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0.png"/><Relationship Id="rId11" Type="http://schemas.openxmlformats.org/officeDocument/2006/relationships/diagramQuickStyle" Target="../diagrams/quickStyle4.xml"/><Relationship Id="rId5" Type="http://schemas.openxmlformats.org/officeDocument/2006/relationships/image" Target="../media/image1.emf"/><Relationship Id="rId10" Type="http://schemas.openxmlformats.org/officeDocument/2006/relationships/diagramLayout" Target="../diagrams/layout4.xml"/><Relationship Id="rId4" Type="http://schemas.openxmlformats.org/officeDocument/2006/relationships/oleObject" Target="../embeddings/oleObject7.bin"/><Relationship Id="rId9" Type="http://schemas.openxmlformats.org/officeDocument/2006/relationships/diagramData" Target="../diagrams/data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3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svg"/><Relationship Id="rId12" Type="http://schemas.openxmlformats.org/officeDocument/2006/relationships/image" Target="../media/image3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11" Type="http://schemas.openxmlformats.org/officeDocument/2006/relationships/image" Target="../media/image44.png"/><Relationship Id="rId5" Type="http://schemas.openxmlformats.org/officeDocument/2006/relationships/image" Target="../media/image1.emf"/><Relationship Id="rId10" Type="http://schemas.openxmlformats.org/officeDocument/2006/relationships/image" Target="../media/image20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diagramData" Target="../diagrams/data7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6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svg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6.xml"/><Relationship Id="rId12" Type="http://schemas.openxmlformats.org/officeDocument/2006/relationships/image" Target="../media/image47.svg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diagramData" Target="../diagrams/data8.xml"/><Relationship Id="rId11" Type="http://schemas.openxmlformats.org/officeDocument/2006/relationships/image" Target="../media/image46.png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svg"/><Relationship Id="rId12" Type="http://schemas.openxmlformats.org/officeDocument/2006/relationships/image" Target="../media/image10.sv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3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1.xml"/><Relationship Id="rId2" Type="http://schemas.openxmlformats.org/officeDocument/2006/relationships/tags" Target="../tags/tag16.xml"/><Relationship Id="rId16" Type="http://schemas.openxmlformats.org/officeDocument/2006/relationships/image" Target="../media/image27.png"/><Relationship Id="rId1" Type="http://schemas.openxmlformats.org/officeDocument/2006/relationships/vmlDrawing" Target="../drawings/vmlDrawing10.v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5" Type="http://schemas.openxmlformats.org/officeDocument/2006/relationships/image" Target="../media/image26.png"/><Relationship Id="rId10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1A733474-1D3D-C648-9E61-0B3E0C4E02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8054" y="3930561"/>
            <a:ext cx="2060844" cy="1655762"/>
          </a:xfrm>
        </p:spPr>
        <p:txBody>
          <a:bodyPr>
            <a:normAutofit/>
          </a:bodyPr>
          <a:lstStyle/>
          <a:p>
            <a:pPr algn="l">
              <a:spcBef>
                <a:spcPts val="600"/>
              </a:spcBef>
            </a:pPr>
            <a:r>
              <a:rPr lang="fr-FR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Internship</a:t>
            </a: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Supervisors</a:t>
            </a:r>
            <a:endParaRPr lang="fr-FR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600"/>
              </a:spcBef>
            </a:pPr>
            <a:r>
              <a:rPr lang="fr-FR" sz="1600" b="1" dirty="0">
                <a:latin typeface="Arial" panose="020B0604020202020204" pitchFamily="34" charset="0"/>
                <a:cs typeface="Arial" panose="020B0604020202020204" pitchFamily="34" charset="0"/>
              </a:rPr>
              <a:t>Laurent PUEYO</a:t>
            </a:r>
          </a:p>
          <a:p>
            <a:pPr algn="l">
              <a:spcBef>
                <a:spcPts val="600"/>
              </a:spcBef>
            </a:pPr>
            <a:r>
              <a:rPr lang="fr-FR" sz="1600" b="1" dirty="0">
                <a:latin typeface="Arial" panose="020B0604020202020204" pitchFamily="34" charset="0"/>
                <a:cs typeface="Arial" panose="020B0604020202020204" pitchFamily="34" charset="0"/>
              </a:rPr>
              <a:t>Colin NORMAN</a:t>
            </a:r>
          </a:p>
        </p:txBody>
      </p:sp>
      <p:sp>
        <p:nvSpPr>
          <p:cNvPr id="18" name="Sous-titre 2">
            <a:extLst>
              <a:ext uri="{FF2B5EF4-FFF2-40B4-BE49-F238E27FC236}">
                <a16:creationId xmlns:a16="http://schemas.microsoft.com/office/drawing/2014/main" id="{426A303E-8B6D-47E6-B346-1712E25AD47A}"/>
              </a:ext>
            </a:extLst>
          </p:cNvPr>
          <p:cNvSpPr txBox="1">
            <a:spLocks/>
          </p:cNvSpPr>
          <p:nvPr/>
        </p:nvSpPr>
        <p:spPr>
          <a:xfrm>
            <a:off x="6749088" y="3930561"/>
            <a:ext cx="3250616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ENS </a:t>
            </a:r>
            <a:r>
              <a:rPr lang="fr-FR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Supervisor</a:t>
            </a:r>
            <a:endParaRPr lang="fr-FR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600"/>
              </a:spcBef>
            </a:pPr>
            <a:r>
              <a:rPr lang="fr-FR" sz="1600" b="1" dirty="0">
                <a:latin typeface="Arial" panose="020B0604020202020204" pitchFamily="34" charset="0"/>
                <a:cs typeface="Arial" panose="020B0604020202020204" pitchFamily="34" charset="0"/>
              </a:rPr>
              <a:t>Mohamed ABBAS-TURKI</a:t>
            </a:r>
          </a:p>
        </p:txBody>
      </p:sp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C67D322D-15DA-49EF-9226-E93915CA35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27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3C11059-F6B4-4E69-B727-CF53A0EE42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26" name="Picture 2" descr="L'étude d'une exoplanète montre comment la Terre devrait être engloutie par  le Soleil... dans cinq milliards d'années">
            <a:extLst>
              <a:ext uri="{FF2B5EF4-FFF2-40B4-BE49-F238E27FC236}">
                <a16:creationId xmlns:a16="http://schemas.microsoft.com/office/drawing/2014/main" id="{5AC7FD17-985E-45FD-9949-3E16A2E8A0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5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3176"/>
            <a:ext cx="12192000" cy="2377675"/>
          </a:xfrm>
          <a:prstGeom prst="rect">
            <a:avLst/>
          </a:prstGeom>
          <a:noFill/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17312DE-D69F-4199-A8B0-4131BEA3F04F}"/>
              </a:ext>
            </a:extLst>
          </p:cNvPr>
          <p:cNvSpPr/>
          <p:nvPr/>
        </p:nvSpPr>
        <p:spPr>
          <a:xfrm>
            <a:off x="3176" y="2380767"/>
            <a:ext cx="12192000" cy="144704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8F8C080-A5C3-3942-904C-5EAAB3C409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76" y="2380851"/>
            <a:ext cx="12188824" cy="1439043"/>
          </a:xfrm>
        </p:spPr>
        <p:txBody>
          <a:bodyPr anchor="ctr">
            <a:norm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SIAN SYSTEM IDENTIFICATION AND PREDICTIVE ALGORITHMS IN WAVEFRONT SENSING AND CONTROL FOR EXOPLANET IMAGING</a:t>
            </a:r>
            <a:endParaRPr lang="fr-FR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8C4D42D-BC32-674D-902E-E06D79DB8A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939" y="5560595"/>
            <a:ext cx="2267585" cy="110182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E4FA2BE-1A7F-624D-9BE2-9EC8270C1A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3510" y="5473131"/>
            <a:ext cx="2267585" cy="1276749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0FAE7C3-322A-A948-922A-677CD812AF2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96081" y="5624507"/>
            <a:ext cx="2267585" cy="973997"/>
          </a:xfrm>
          <a:prstGeom prst="rect">
            <a:avLst/>
          </a:prstGeom>
        </p:spPr>
      </p:pic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F14EE9BA-3AC7-4CE3-87BF-FF11860CA105}"/>
              </a:ext>
            </a:extLst>
          </p:cNvPr>
          <p:cNvCxnSpPr>
            <a:cxnSpLocks/>
          </p:cNvCxnSpPr>
          <p:nvPr/>
        </p:nvCxnSpPr>
        <p:spPr>
          <a:xfrm flipV="1">
            <a:off x="6834776" y="4167277"/>
            <a:ext cx="2393630" cy="12448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37E0C8C3-4CDB-E242-8A12-EDED1E209405}"/>
              </a:ext>
            </a:extLst>
          </p:cNvPr>
          <p:cNvCxnSpPr>
            <a:cxnSpLocks/>
          </p:cNvCxnSpPr>
          <p:nvPr/>
        </p:nvCxnSpPr>
        <p:spPr>
          <a:xfrm flipV="1">
            <a:off x="3272254" y="4167277"/>
            <a:ext cx="2393630" cy="12448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723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8" name="Rectangle à coins arrondis 67">
                <a:extLst>
                  <a:ext uri="{FF2B5EF4-FFF2-40B4-BE49-F238E27FC236}">
                    <a16:creationId xmlns:a16="http://schemas.microsoft.com/office/drawing/2014/main" id="{890FE483-1C4F-FA44-B5A5-B81C4F0D78B7}"/>
                  </a:ext>
                </a:extLst>
              </p:cNvPr>
              <p:cNvSpPr/>
              <p:nvPr/>
            </p:nvSpPr>
            <p:spPr>
              <a:xfrm>
                <a:off x="245352" y="2609115"/>
                <a:ext cx="5672156" cy="2193132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fr-FR" sz="17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sz="17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𝑰</m:t>
                          </m:r>
                        </m:e>
                        <m:sub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bSup>
                      <m:r>
                        <a:rPr lang="fr-FR" sz="17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𝑬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𝑚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𝑮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𝒖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sup>
                              </m:sSubSup>
                            </m:e>
                          </m:d>
                        </m:e>
                        <m:sub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r-FR" sz="17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7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    </m:t>
                      </m:r>
                      <m:r>
                        <a:rPr lang="fr-FR" sz="17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sz="17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𝑰</m:t>
                          </m:r>
                        </m:e>
                        <m:sub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bSup>
                      <m:r>
                        <a:rPr lang="fr-FR" sz="17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𝑬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𝑖𝑚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fr-FR" sz="17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𝑮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r-FR" sz="17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𝒖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sup>
                              </m:sSubSup>
                            </m:e>
                          </m:d>
                        </m:e>
                        <m:sub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r-FR" sz="17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fr-FR" sz="1700" dirty="0">
                  <a:solidFill>
                    <a:srgbClr val="FF0000"/>
                  </a:solidFill>
                </a:endParaRPr>
              </a:p>
              <a:p>
                <a:endParaRPr lang="fr-FR" sz="1700" dirty="0">
                  <a:solidFill>
                    <a:srgbClr val="FF0000"/>
                  </a:solidFill>
                </a:endParaRPr>
              </a:p>
              <a:p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t pixel </a:t>
                </a:r>
                <a14:m>
                  <m:oMath xmlns:m="http://schemas.openxmlformats.org/officeDocument/2006/math">
                    <m:r>
                      <a:rPr lang="fr-FR" sz="17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fr-FR" sz="1700" i="1" dirty="0">
                    <a:solidFill>
                      <a:schemeClr val="tx1"/>
                    </a:solidFill>
                  </a:rPr>
                  <a:t>:       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fr-FR" sz="17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fr-FR" sz="17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sSubSup>
                                    <m:sSubSup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[</m:t>
                                      </m:r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</m:sup>
                                  </m:sSub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− </m:t>
                                  </m:r>
                                  <m:sSubSup>
                                    <m:sSubSup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  <m:sup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</m:sup>
                                  </m:sSub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]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sSubSup>
                                    <m:sSubSup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[</m:t>
                                      </m:r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fr-FR" sz="1700" b="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3</m:t>
                                      </m:r>
                                    </m:sub>
                                    <m:sup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</m:sup>
                                  </m:sSub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− </m:t>
                                  </m:r>
                                  <m:sSubSup>
                                    <m:sSubSup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𝑰</m:t>
                                      </m:r>
                                    </m:e>
                                    <m:sub>
                                      <m:r>
                                        <a:rPr lang="fr-FR" sz="1700" b="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3</m:t>
                                      </m:r>
                                    </m:sub>
                                    <m:sup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</m:sup>
                                  </m:sSubSup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]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mr>
                        </m:m>
                      </m:e>
                    </m:d>
                    <m:r>
                      <a:rPr lang="fr-FR" sz="17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fr-FR" sz="17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𝑷</m:t>
                    </m:r>
                    <m:r>
                      <a:rPr lang="fr-FR" sz="17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["/>
                        <m:endChr m:val="]"/>
                        <m:ctrlPr>
                          <a:rPr lang="fr-FR" sz="17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fr-FR" sz="17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𝑒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{</m:t>
                                      </m:r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𝑬</m:t>
                                      </m:r>
                                    </m:e>
                                    <m:sub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𝑚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}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mr>
                          <m:mr>
                            <m:e>
                              <m:sSub>
                                <m:sSubPr>
                                  <m:ctrlP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FR" sz="1700" b="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𝐼𝑚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{</m:t>
                                      </m:r>
                                      <m:r>
                                        <a:rPr lang="fr-FR" sz="1700" b="1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𝑬</m:t>
                                      </m:r>
                                    </m:e>
                                    <m:sub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𝑚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  <m:r>
                                        <a:rPr lang="fr-FR" sz="17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}</m:t>
                                  </m:r>
                                </m:e>
                                <m:sub>
                                  <m:r>
                                    <a:rPr lang="fr-FR" sz="17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mr>
                        </m:m>
                      </m:e>
                    </m:d>
                  </m:oMath>
                </a14:m>
                <a:endParaRPr lang="fr-FR" sz="17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Rectangle à coins arrondis 67">
                <a:extLst>
                  <a:ext uri="{FF2B5EF4-FFF2-40B4-BE49-F238E27FC236}">
                    <a16:creationId xmlns:a16="http://schemas.microsoft.com/office/drawing/2014/main" id="{890FE483-1C4F-FA44-B5A5-B81C4F0D78B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352" y="2609115"/>
                <a:ext cx="5672156" cy="219313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7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of the Art –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rwise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imation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CED65DC5-C7E9-485C-BBE6-0309999129F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B560E61B-5F9F-284F-B428-E6235365E438}"/>
              </a:ext>
            </a:extLst>
          </p:cNvPr>
          <p:cNvGrpSpPr/>
          <p:nvPr/>
        </p:nvGrpSpPr>
        <p:grpSpPr>
          <a:xfrm>
            <a:off x="0" y="998076"/>
            <a:ext cx="12192000" cy="1570246"/>
            <a:chOff x="3176" y="1400322"/>
            <a:chExt cx="25640223" cy="62240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4006164-0460-F34D-90E8-80C18B46E4E5}"/>
                    </a:ext>
                  </a:extLst>
                </p:cNvPr>
                <p:cNvSpPr/>
                <p:nvPr/>
              </p:nvSpPr>
              <p:spPr>
                <a:xfrm>
                  <a:off x="3176" y="1534746"/>
                  <a:ext cx="25640223" cy="28836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r>
                    <a:rPr lang="fr-FR" b="1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dea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: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hoose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a set of probe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unctions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r-FR" b="0" i="1" smtClean="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lang="fr-FR" b="0" i="1" smtClean="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𝑢</m:t>
                          </m:r>
                        </m:e>
                        <m:sub>
                          <m:r>
                            <a:rPr lang="fr-FR" b="0" i="1" smtClean="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𝑗</m:t>
                          </m:r>
                        </m:sub>
                        <m:sup>
                          <m:r>
                            <a:rPr lang="fr-FR" b="0" i="1" smtClean="0">
                              <a:solidFill>
                                <a:schemeClr val="bg2">
                                  <a:lumMod val="1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𝑝</m:t>
                          </m:r>
                        </m:sup>
                      </m:sSubSup>
                    </m:oMath>
                  </a14:m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hat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ill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e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pplied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o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Ms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and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easure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sulting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nsity</a:t>
                  </a:r>
                  <a:r>
                    <a:rPr lang="fr-FR" dirty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patterns</a:t>
                  </a:r>
                </a:p>
              </p:txBody>
            </p:sp>
          </mc:Choice>
          <mc:Fallback xmlns=""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F4006164-0460-F34D-90E8-80C18B46E4E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176" y="1534746"/>
                  <a:ext cx="25640223" cy="288362"/>
                </a:xfrm>
                <a:prstGeom prst="rect">
                  <a:avLst/>
                </a:prstGeom>
                <a:blipFill>
                  <a:blip r:embed="rId7"/>
                  <a:stretch>
                    <a:fillRect l="-208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0" name="Espace réservé du contenu 2">
              <a:extLst>
                <a:ext uri="{FF2B5EF4-FFF2-40B4-BE49-F238E27FC236}">
                  <a16:creationId xmlns:a16="http://schemas.microsoft.com/office/drawing/2014/main" id="{BB75DAEE-7FDB-114B-AD9D-1F31CCAC0D63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0" name="Espace réservé du contenu 2">
            <a:extLst>
              <a:ext uri="{FF2B5EF4-FFF2-40B4-BE49-F238E27FC236}">
                <a16:creationId xmlns:a16="http://schemas.microsoft.com/office/drawing/2014/main" id="{44C848E7-8A9E-1240-A865-3521E062F726}"/>
              </a:ext>
            </a:extLst>
          </p:cNvPr>
          <p:cNvSpPr txBox="1">
            <a:spLocks/>
          </p:cNvSpPr>
          <p:nvPr/>
        </p:nvSpPr>
        <p:spPr>
          <a:xfrm>
            <a:off x="7747901" y="3767378"/>
            <a:ext cx="3847634" cy="7301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à coins arrondis 65">
            <a:extLst>
              <a:ext uri="{FF2B5EF4-FFF2-40B4-BE49-F238E27FC236}">
                <a16:creationId xmlns:a16="http://schemas.microsoft.com/office/drawing/2014/main" id="{B745C182-2128-FB47-9F9F-9926CBF30914}"/>
              </a:ext>
            </a:extLst>
          </p:cNvPr>
          <p:cNvSpPr/>
          <p:nvPr/>
        </p:nvSpPr>
        <p:spPr>
          <a:xfrm>
            <a:off x="6220316" y="2590418"/>
            <a:ext cx="5674940" cy="21931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sities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ng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ward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 to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 of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ations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real and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inary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 of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xel in </a:t>
            </a:r>
            <a:r>
              <a:rPr lang="fr-FR" sz="1700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k</a:t>
            </a:r>
            <a:r>
              <a:rPr lang="fr-FR" sz="17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one 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D8D340C8-F243-D841-AEB9-2D3C3CDCF41F}"/>
              </a:ext>
            </a:extLst>
          </p:cNvPr>
          <p:cNvGrpSpPr/>
          <p:nvPr/>
        </p:nvGrpSpPr>
        <p:grpSpPr>
          <a:xfrm>
            <a:off x="961935" y="5327404"/>
            <a:ext cx="10066112" cy="973040"/>
            <a:chOff x="1181108" y="5211341"/>
            <a:chExt cx="10066112" cy="973040"/>
          </a:xfrm>
        </p:grpSpPr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BEE68685-1704-284B-9C76-FF74389E84F3}"/>
                </a:ext>
              </a:extLst>
            </p:cNvPr>
            <p:cNvGrpSpPr/>
            <p:nvPr/>
          </p:nvGrpSpPr>
          <p:grpSpPr>
            <a:xfrm>
              <a:off x="1181108" y="5211341"/>
              <a:ext cx="10066112" cy="973040"/>
              <a:chOff x="1529423" y="5394772"/>
              <a:chExt cx="10066112" cy="973040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A3EDE899-F4EC-4540-A2CD-CF0ADE72B95C}"/>
                  </a:ext>
                </a:extLst>
              </p:cNvPr>
              <p:cNvSpPr/>
              <p:nvPr/>
            </p:nvSpPr>
            <p:spPr>
              <a:xfrm>
                <a:off x="2013646" y="5394772"/>
                <a:ext cx="9581889" cy="97304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2" rtlCol="0" anchor="ctr"/>
              <a:lstStyle/>
              <a:p>
                <a:pPr lvl="1"/>
                <a:r>
                  <a:rPr lang="fr-FR" b="1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irwise</a:t>
                </a:r>
                <a:r>
                  <a:rPr lang="fr-FR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Estimation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ly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ed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hod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urrently</a:t>
                </a:r>
                <a:endParaRPr lang="fr-FR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fr-FR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00150" lvl="2" indent="-285750">
                  <a:buFont typeface="Arial" panose="020B0604020202020204" pitchFamily="34" charset="0"/>
                  <a:buChar char="•"/>
                </a:pPr>
                <a:endParaRPr lang="fr-FR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bing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eates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uge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ss</a:t>
                </a:r>
                <a:r>
                  <a:rPr lang="fr-FR" sz="16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in observation time</a:t>
                </a:r>
              </a:p>
              <a:p>
                <a:r>
                  <a:rPr lang="fr-FR" sz="1600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       </a:t>
                </a:r>
                <a:r>
                  <a:rPr lang="fr-FR" sz="1600" b="1" dirty="0" err="1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ed</a:t>
                </a:r>
                <a:r>
                  <a:rPr lang="fr-FR" sz="1600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for new </a:t>
                </a:r>
                <a:r>
                  <a:rPr lang="fr-FR" sz="1600" b="1" dirty="0" err="1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lgorithms</a:t>
                </a:r>
                <a:endParaRPr lang="fr-FR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Ellipse 73">
                <a:extLst>
                  <a:ext uri="{FF2B5EF4-FFF2-40B4-BE49-F238E27FC236}">
                    <a16:creationId xmlns:a16="http://schemas.microsoft.com/office/drawing/2014/main" id="{1433132D-19AD-2C48-BC8A-B9B9B3434149}"/>
                  </a:ext>
                </a:extLst>
              </p:cNvPr>
              <p:cNvSpPr/>
              <p:nvPr/>
            </p:nvSpPr>
            <p:spPr>
              <a:xfrm>
                <a:off x="1529423" y="5394772"/>
                <a:ext cx="968447" cy="973039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75" name="Graphique 74" descr="Loupe">
                <a:extLst>
                  <a:ext uri="{FF2B5EF4-FFF2-40B4-BE49-F238E27FC236}">
                    <a16:creationId xmlns:a16="http://schemas.microsoft.com/office/drawing/2014/main" id="{2F004A59-70DE-2C44-A1EE-A87AA6F9FB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723171" y="5627897"/>
                <a:ext cx="580949" cy="506786"/>
              </a:xfrm>
              <a:prstGeom prst="rect">
                <a:avLst/>
              </a:prstGeom>
            </p:spPr>
          </p:pic>
        </p:grpSp>
        <p:cxnSp>
          <p:nvCxnSpPr>
            <p:cNvPr id="22" name="Connecteur droit avec flèche 21">
              <a:extLst>
                <a:ext uri="{FF2B5EF4-FFF2-40B4-BE49-F238E27FC236}">
                  <a16:creationId xmlns:a16="http://schemas.microsoft.com/office/drawing/2014/main" id="{5D990D7D-8FE0-8C43-B7B1-DBCD11A326C4}"/>
                </a:ext>
              </a:extLst>
            </p:cNvPr>
            <p:cNvCxnSpPr>
              <a:cxnSpLocks/>
            </p:cNvCxnSpPr>
            <p:nvPr/>
          </p:nvCxnSpPr>
          <p:spPr>
            <a:xfrm>
              <a:off x="6749170" y="5941324"/>
              <a:ext cx="363172" cy="0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3146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2074F24-7EBB-F643-9C5D-96840ED2849F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 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916BAC68-1AD6-BD40-9FEA-054E98F922DF}"/>
              </a:ext>
            </a:extLst>
          </p:cNvPr>
          <p:cNvGrpSpPr/>
          <p:nvPr/>
        </p:nvGrpSpPr>
        <p:grpSpPr>
          <a:xfrm>
            <a:off x="6148064" y="1188529"/>
            <a:ext cx="5075264" cy="5303635"/>
            <a:chOff x="6148064" y="1188529"/>
            <a:chExt cx="5075264" cy="530363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1DFF695B-7519-B145-B14E-FB07D55D249F}"/>
                    </a:ext>
                  </a:extLst>
                </p:cNvPr>
                <p:cNvSpPr/>
                <p:nvPr/>
              </p:nvSpPr>
              <p:spPr>
                <a:xfrm>
                  <a:off x="6148064" y="4001294"/>
                  <a:ext cx="5075264" cy="249087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r>
                    <a:rPr lang="fr-FR" sz="2200" b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atrix-</a:t>
                  </a:r>
                  <a:r>
                    <a:rPr lang="fr-FR" sz="2200" b="1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vector</a:t>
                  </a:r>
                  <a:r>
                    <a:rPr lang="fr-FR" sz="2200" b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2200" b="1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presentation</a:t>
                  </a:r>
                  <a:endParaRPr lang="fr-FR" sz="22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endParaRPr lang="fr-FR" sz="2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fr-FR" sz="20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fr-FR" sz="2000" b="1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𝑭</m:t>
                            </m:r>
                          </m:lim>
                        </m:limLow>
                        <m:r>
                          <a:rPr lang="fr-FR" sz="20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sSubSup>
                          <m:sSubSupPr>
                            <m:ctrlP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∥</m:t>
                            </m:r>
                            <m:sSup>
                              <m:sSupPr>
                                <m:ctrlP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2000" b="1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𝑫</m:t>
                                </m:r>
                              </m:e>
                              <m:sup>
                                <m: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sSup>
                              <m:sSupPr>
                                <m:ctrlP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2000" b="1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𝑭</m:t>
                                </m:r>
                              </m:e>
                              <m:sup>
                                <m: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</m:t>
                            </m:r>
                            <m:sSup>
                              <m:sSupPr>
                                <m:ctrlP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FR" sz="2000" b="1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𝑷</m:t>
                                </m:r>
                              </m:e>
                              <m:sup>
                                <m:r>
                                  <a:rPr lang="fr-FR" sz="20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∥</m:t>
                            </m:r>
                          </m:e>
                          <m:sub>
                            <m: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fr-FR" sz="20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fr-FR" sz="200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+ </m:t>
                        </m:r>
                        <m:r>
                          <a:rPr lang="fr-FR" sz="200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𝜆</m:t>
                        </m:r>
                        <m:sSubSup>
                          <m:sSubSupPr>
                            <m:ctrlPr>
                              <a:rPr lang="fr-FR" sz="2000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000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∥</m:t>
                            </m:r>
                            <m:r>
                              <a:rPr lang="fr-FR" sz="2000" b="1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𝑭</m:t>
                            </m:r>
                            <m:r>
                              <a:rPr lang="fr-FR" sz="2000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∥</m:t>
                            </m:r>
                          </m:e>
                          <m:sub>
                            <m:r>
                              <a:rPr lang="fr-FR" sz="2000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fr-FR" sz="2000" i="1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 </m:t>
                            </m:r>
                          </m:sup>
                        </m:sSubSup>
                      </m:oMath>
                    </m:oMathPara>
                  </a14:m>
                  <a:endParaRPr lang="fr-FR" sz="2000" dirty="0">
                    <a:solidFill>
                      <a:schemeClr val="tx1"/>
                    </a:solidFill>
                  </a:endParaRPr>
                </a:p>
                <a:p>
                  <a:pPr algn="ctr"/>
                  <a:endParaRPr lang="fr-FR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lassical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east squares </a:t>
                  </a:r>
                  <a:r>
                    <a:rPr lang="fr-FR" b="1" dirty="0" err="1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stimator</a:t>
                  </a:r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an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e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gularized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if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cessary</a:t>
                  </a:r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1DFF695B-7519-B145-B14E-FB07D55D249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48064" y="4001294"/>
                  <a:ext cx="5075264" cy="2490870"/>
                </a:xfrm>
                <a:prstGeom prst="rect">
                  <a:avLst/>
                </a:prstGeom>
                <a:blipFill>
                  <a:blip r:embed="rId6"/>
                  <a:stretch>
                    <a:fillRect t="-1015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785D6494-1D8D-794B-87DC-6047976D70B3}"/>
                    </a:ext>
                  </a:extLst>
                </p:cNvPr>
                <p:cNvSpPr/>
                <p:nvPr/>
              </p:nvSpPr>
              <p:spPr>
                <a:xfrm>
                  <a:off x="6148064" y="1188529"/>
                  <a:ext cx="5042941" cy="249087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r>
                    <a:rPr lang="fr-FR" sz="2200" b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emporal </a:t>
                  </a:r>
                  <a:r>
                    <a:rPr lang="fr-FR" sz="2200" b="1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presentation</a:t>
                  </a:r>
                  <a:endParaRPr lang="fr-FR" sz="22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algn="ctr"/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unc>
                          <m:funcPr>
                            <m:ctrlPr>
                              <a:rPr lang="fr-FR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fr-FR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fr-FR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min</m:t>
                                </m:r>
                              </m:e>
                              <m:lim>
                                <m:r>
                                  <a:rPr lang="fr-FR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𝑭</m:t>
                                </m:r>
                              </m:lim>
                            </m:limLow>
                          </m:fName>
                          <m:e>
                            <m: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&lt;</m:t>
                            </m:r>
                            <m:sSubSup>
                              <m:sSubSupPr>
                                <m:ctrlP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r-FR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∥</m:t>
                                </m:r>
                                <m:acc>
                                  <m:accPr>
                                    <m:chr m:val="̂"/>
                                    <m:ctrlPr>
                                      <a:rPr lang="fr-FR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fr-FR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𝒘</m:t>
                                    </m:r>
                                  </m:e>
                                </m:acc>
                                <m:d>
                                  <m:dPr>
                                    <m:ctrlPr>
                                      <a:rPr lang="fr-FR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fr-FR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fr-FR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fr-FR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𝛿</m:t>
                                    </m:r>
                                    <m:r>
                                      <a:rPr lang="fr-FR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−</m:t>
                                </m:r>
                                <m:acc>
                                  <m:accPr>
                                    <m:chr m:val="̃"/>
                                    <m:ctrlPr>
                                      <a:rPr lang="fr-FR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fr-FR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𝒘</m:t>
                                    </m:r>
                                  </m:e>
                                </m:acc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𝛿</m:t>
                                </m:r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)∥</m:t>
                                </m:r>
                              </m:e>
                              <m:sub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  <m:sup>
                                <m:r>
                                  <a:rPr lang="fr-FR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  <m: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fr-FR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FR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&gt;</m:t>
                                </m:r>
                              </m:e>
                              <m:sub>
                                <m:r>
                                  <a:rPr lang="fr-FR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𝑇</m:t>
                                </m:r>
                              </m:sub>
                            </m:sSub>
                          </m:e>
                        </m:func>
                      </m:oMath>
                    </m:oMathPara>
                  </a14:m>
                  <a:endParaRPr lang="fr-FR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  <a:p>
                  <a:r>
                    <a:rPr lang="fr-FR" dirty="0">
                      <a:solidFill>
                        <a:schemeClr val="tx1"/>
                      </a:solidFill>
                    </a:rPr>
                    <a:t>=</a:t>
                  </a:r>
                  <a14:m>
                    <m:oMath xmlns:m="http://schemas.openxmlformats.org/officeDocument/2006/math">
                      <m:r>
                        <a:rPr lang="fr-FR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fr-FR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     </m:t>
                      </m:r>
                      <m:func>
                        <m:funcPr>
                          <m:ctrlPr>
                            <a:rPr lang="fr-FR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 </m:t>
                          </m:r>
                          <m:limLow>
                            <m:limLowPr>
                              <m:ctrlP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fr-FR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fr-FR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𝑭</m:t>
                              </m:r>
                            </m:lim>
                          </m:limLow>
                        </m:fName>
                        <m:e>
                          <m:r>
                            <a:rPr lang="fr-FR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&lt;∥</m:t>
                          </m:r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 </m:t>
                          </m:r>
                          <m:sSubSup>
                            <m:sSubSupPr>
                              <m:ctrlP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lang="fr-FR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𝑭𝒉</m:t>
                              </m:r>
                              <m:d>
                                <m:dPr>
                                  <m:ctrlP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   − </m:t>
                              </m:r>
                              <m:acc>
                                <m:accPr>
                                  <m:chr m:val="̃"/>
                                  <m:ctrlPr>
                                    <a:rPr lang="fr-FR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fr-FR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𝒘</m:t>
                                  </m:r>
                                </m:e>
                              </m:acc>
                              <m:d>
                                <m:dPr>
                                  <m:ctrlP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𝛿</m:t>
                                  </m:r>
                                  <m: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∥</m:t>
                              </m:r>
                            </m:e>
                            <m:sub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sSub>
                            <m:sSubPr>
                              <m:ctrlP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&gt;</m:t>
                              </m:r>
                            </m:e>
                            <m:sub>
                              <m: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b>
                          </m:sSub>
                        </m:e>
                      </m:func>
                    </m:oMath>
                  </a14:m>
                  <a:endParaRPr lang="fr-FR" dirty="0">
                    <a:solidFill>
                      <a:schemeClr val="tx1"/>
                    </a:solidFill>
                  </a:endParaRPr>
                </a:p>
                <a:p>
                  <a:endParaRPr lang="fr-FR" sz="1600" dirty="0">
                    <a:solidFill>
                      <a:schemeClr val="tx1"/>
                    </a:solidFill>
                  </a:endParaRPr>
                </a:p>
                <a:p>
                  <a:pPr algn="ctr"/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nd </a:t>
                  </a:r>
                  <a14:m>
                    <m:oMath xmlns:m="http://schemas.openxmlformats.org/officeDocument/2006/math">
                      <m:r>
                        <a:rPr lang="fr-FR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𝑭</m:t>
                      </m:r>
                    </m:oMath>
                  </a14:m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hat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inimizes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he </a:t>
                  </a:r>
                  <a:r>
                    <a:rPr lang="fr-FR" b="1" dirty="0" err="1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verage</a:t>
                  </a:r>
                  <a:r>
                    <a:rPr lang="fr-FR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distance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etween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ediction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and </a:t>
                  </a:r>
                </a:p>
                <a:p>
                  <a:pPr algn="ctr"/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-posteriori</a:t>
                  </a:r>
                  <a:r>
                    <a: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easurements</a:t>
                  </a:r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785D6494-1D8D-794B-87DC-6047976D70B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48064" y="1188529"/>
                  <a:ext cx="5042941" cy="2490872"/>
                </a:xfrm>
                <a:prstGeom prst="rect">
                  <a:avLst/>
                </a:prstGeom>
                <a:blipFill>
                  <a:blip r:embed="rId7"/>
                  <a:stretch>
                    <a:fillRect l="-754" t="-1523" b="-3553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75E8B8C7-77F9-AC4D-8787-C43A943DD7C8}"/>
              </a:ext>
            </a:extLst>
          </p:cNvPr>
          <p:cNvGrpSpPr/>
          <p:nvPr/>
        </p:nvGrpSpPr>
        <p:grpSpPr>
          <a:xfrm>
            <a:off x="499730" y="2269228"/>
            <a:ext cx="4903768" cy="3271853"/>
            <a:chOff x="499730" y="2318071"/>
            <a:chExt cx="4903768" cy="3271853"/>
          </a:xfrm>
        </p:grpSpPr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0E53317C-0B65-4049-8B8B-EAECE8760C20}"/>
                </a:ext>
              </a:extLst>
            </p:cNvPr>
            <p:cNvSpPr txBox="1"/>
            <p:nvPr/>
          </p:nvSpPr>
          <p:spPr>
            <a:xfrm>
              <a:off x="499730" y="2318071"/>
              <a:ext cx="314128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Estimate</a:t>
              </a:r>
              <a:r>
                <a:rPr lang="fr-FR" sz="2000" dirty="0">
                  <a:latin typeface="Arial" panose="020B0604020202020204" pitchFamily="34" charset="0"/>
                  <a:cs typeface="Arial" panose="020B0604020202020204" pitchFamily="34" charset="0"/>
                </a:rPr>
                <a:t> at the </a:t>
              </a:r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next</a:t>
              </a:r>
              <a:r>
                <a:rPr lang="fr-FR" sz="2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endParaRPr lang="fr-FR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CCF5F762-F89E-F941-9C5F-85BF9F62C8C8}"/>
                </a:ext>
              </a:extLst>
            </p:cNvPr>
            <p:cNvSpPr txBox="1"/>
            <p:nvPr/>
          </p:nvSpPr>
          <p:spPr>
            <a:xfrm>
              <a:off x="2509580" y="4846241"/>
              <a:ext cx="846624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Filter</a:t>
              </a:r>
              <a:endParaRPr lang="fr-F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FA95DA7E-E5C9-5744-B034-5540CBA481CC}"/>
                </a:ext>
              </a:extLst>
            </p:cNvPr>
            <p:cNvSpPr txBox="1"/>
            <p:nvPr/>
          </p:nvSpPr>
          <p:spPr>
            <a:xfrm>
              <a:off x="3254147" y="4882038"/>
              <a:ext cx="2149351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History</a:t>
              </a:r>
              <a:r>
                <a:rPr lang="fr-FR" sz="2000" dirty="0">
                  <a:latin typeface="Arial" panose="020B0604020202020204" pitchFamily="34" charset="0"/>
                  <a:cs typeface="Arial" panose="020B0604020202020204" pitchFamily="34" charset="0"/>
                </a:rPr>
                <a:t> of </a:t>
              </a:r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past</a:t>
              </a:r>
              <a:r>
                <a:rPr lang="fr-FR" sz="2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dirty="0" err="1">
                  <a:latin typeface="Arial" panose="020B0604020202020204" pitchFamily="34" charset="0"/>
                  <a:cs typeface="Arial" panose="020B0604020202020204" pitchFamily="34" charset="0"/>
                </a:rPr>
                <a:t>wavefronts</a:t>
              </a:r>
              <a:endParaRPr lang="fr-FR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5FF892E1-FBD7-3C44-8AE6-795E18F45FB6}"/>
                    </a:ext>
                  </a:extLst>
                </p:cNvPr>
                <p:cNvSpPr/>
                <p:nvPr/>
              </p:nvSpPr>
              <p:spPr>
                <a:xfrm>
                  <a:off x="973165" y="3536242"/>
                  <a:ext cx="3685767" cy="684923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acc>
                          <m:accPr>
                            <m:chr m:val="̂"/>
                            <m:ctrlPr>
                              <a:rPr lang="fr-FR" sz="2800" b="1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fr-FR" sz="2800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𝒘</m:t>
                            </m:r>
                          </m:e>
                        </m:acc>
                        <m:d>
                          <m:dPr>
                            <m:ctrlPr>
                              <a:rPr lang="fr-FR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FR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fr-FR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fr-FR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fr-FR" sz="28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fr-FR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fr-FR" sz="28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𝑭</m:t>
                        </m:r>
                        <m:r>
                          <a:rPr lang="fr-FR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.  </m:t>
                        </m:r>
                        <m:r>
                          <a:rPr lang="fr-FR" sz="28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𝒉</m:t>
                        </m:r>
                        <m:r>
                          <a:rPr lang="fr-FR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fr-FR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fr-FR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) </m:t>
                        </m:r>
                      </m:oMath>
                    </m:oMathPara>
                  </a14:m>
                  <a:endParaRPr lang="fr-FR" sz="3200" i="1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5FF892E1-FBD7-3C44-8AE6-795E18F45FB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3165" y="3536242"/>
                  <a:ext cx="3685767" cy="684923"/>
                </a:xfrm>
                <a:prstGeom prst="rect">
                  <a:avLst/>
                </a:prstGeom>
                <a:blipFill>
                  <a:blip r:embed="rId8"/>
                  <a:stretch>
                    <a:fillRect b="-363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2" name="Connecteur droit avec flèche 21">
              <a:extLst>
                <a:ext uri="{FF2B5EF4-FFF2-40B4-BE49-F238E27FC236}">
                  <a16:creationId xmlns:a16="http://schemas.microsoft.com/office/drawing/2014/main" id="{33DADB06-83C9-0544-8364-89AB209BCDEA}"/>
                </a:ext>
              </a:extLst>
            </p:cNvPr>
            <p:cNvCxnSpPr>
              <a:cxnSpLocks/>
            </p:cNvCxnSpPr>
            <p:nvPr/>
          </p:nvCxnSpPr>
          <p:spPr>
            <a:xfrm>
              <a:off x="3947460" y="4300657"/>
              <a:ext cx="264579" cy="529630"/>
            </a:xfrm>
            <a:prstGeom prst="straightConnector1">
              <a:avLst/>
            </a:prstGeom>
            <a:ln w="25400">
              <a:solidFill>
                <a:schemeClr val="accent1">
                  <a:lumMod val="75000"/>
                </a:schemeClr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avec flèche 22">
              <a:extLst>
                <a:ext uri="{FF2B5EF4-FFF2-40B4-BE49-F238E27FC236}">
                  <a16:creationId xmlns:a16="http://schemas.microsoft.com/office/drawing/2014/main" id="{ED3B39E5-E498-504A-A642-E087D4FD0C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19020" y="4300657"/>
              <a:ext cx="184800" cy="554790"/>
            </a:xfrm>
            <a:prstGeom prst="straightConnector1">
              <a:avLst/>
            </a:prstGeom>
            <a:ln w="2540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avec flèche 23">
              <a:extLst>
                <a:ext uri="{FF2B5EF4-FFF2-40B4-BE49-F238E27FC236}">
                  <a16:creationId xmlns:a16="http://schemas.microsoft.com/office/drawing/2014/main" id="{4A033295-95F6-B042-9DE5-C8CAA253CB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47707" y="2736630"/>
              <a:ext cx="398447" cy="752236"/>
            </a:xfrm>
            <a:prstGeom prst="straightConnector1">
              <a:avLst/>
            </a:prstGeom>
            <a:ln w="2540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987151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gin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fr-FR" sz="18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ious</a:t>
              </a:r>
              <a:r>
                <a:rPr lang="fr-FR" sz="1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pplication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Control of the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mospheric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urbulence on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und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lescopes</a:t>
              </a:r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" name="Image 25">
            <a:extLst>
              <a:ext uri="{FF2B5EF4-FFF2-40B4-BE49-F238E27FC236}">
                <a16:creationId xmlns:a16="http://schemas.microsoft.com/office/drawing/2014/main" id="{996D3712-4B3B-C640-95F8-3877E6E92D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49572" y="2065142"/>
            <a:ext cx="6490838" cy="1554248"/>
          </a:xfrm>
          <a:prstGeom prst="rect">
            <a:avLst/>
          </a:prstGeom>
        </p:spPr>
      </p:pic>
      <p:sp>
        <p:nvSpPr>
          <p:cNvPr id="27" name="Rectangle : coins arrondis 30">
            <a:extLst>
              <a:ext uri="{FF2B5EF4-FFF2-40B4-BE49-F238E27FC236}">
                <a16:creationId xmlns:a16="http://schemas.microsoft.com/office/drawing/2014/main" id="{8080899A-FCCA-7F45-8361-341F8B547A4C}"/>
              </a:ext>
            </a:extLst>
          </p:cNvPr>
          <p:cNvSpPr/>
          <p:nvPr/>
        </p:nvSpPr>
        <p:spPr>
          <a:xfrm>
            <a:off x="470801" y="3927001"/>
            <a:ext cx="3627770" cy="173010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HEMATICAL UNDERSTANDING</a:t>
            </a:r>
          </a:p>
          <a:p>
            <a:pPr algn="ctr"/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ie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ular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ues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omposition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ized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ast squares</a:t>
            </a:r>
          </a:p>
        </p:txBody>
      </p:sp>
      <p:sp>
        <p:nvSpPr>
          <p:cNvPr id="28" name="Rectangle : coins arrondis 30">
            <a:extLst>
              <a:ext uri="{FF2B5EF4-FFF2-40B4-BE49-F238E27FC236}">
                <a16:creationId xmlns:a16="http://schemas.microsoft.com/office/drawing/2014/main" id="{C25FBCF8-D180-EC4F-88D3-D1A394DA88C0}"/>
              </a:ext>
            </a:extLst>
          </p:cNvPr>
          <p:cNvSpPr/>
          <p:nvPr/>
        </p:nvSpPr>
        <p:spPr>
          <a:xfrm>
            <a:off x="4292562" y="3927001"/>
            <a:ext cx="3627770" cy="173010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ION OF THE ALGORITHM</a:t>
            </a:r>
          </a:p>
          <a:p>
            <a:pPr algn="ctr"/>
            <a:endPara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thon &amp; package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tebooks</a:t>
            </a:r>
            <a:endParaRPr lang="fr-F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relevant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 : coins arrondis 30">
            <a:extLst>
              <a:ext uri="{FF2B5EF4-FFF2-40B4-BE49-F238E27FC236}">
                <a16:creationId xmlns:a16="http://schemas.microsoft.com/office/drawing/2014/main" id="{298BC53F-9E44-8D4D-B456-FD11D5CF066A}"/>
              </a:ext>
            </a:extLst>
          </p:cNvPr>
          <p:cNvSpPr/>
          <p:nvPr/>
        </p:nvSpPr>
        <p:spPr>
          <a:xfrm>
            <a:off x="8114323" y="3930512"/>
            <a:ext cx="3627770" cy="175469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N THE TESTBED</a:t>
            </a:r>
          </a:p>
          <a:p>
            <a:pPr algn="ctr"/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on control (Git)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grated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Charm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/>
            <a:endParaRPr lang="fr-F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C8321D26-3C25-784C-AA10-DD2A0E487BCF}"/>
              </a:ext>
            </a:extLst>
          </p:cNvPr>
          <p:cNvCxnSpPr>
            <a:cxnSpLocks/>
          </p:cNvCxnSpPr>
          <p:nvPr/>
        </p:nvCxnSpPr>
        <p:spPr>
          <a:xfrm>
            <a:off x="499730" y="6272333"/>
            <a:ext cx="11213438" cy="0"/>
          </a:xfrm>
          <a:prstGeom prst="straightConnector1">
            <a:avLst/>
          </a:prstGeom>
          <a:ln w="346075" cap="flat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9000">
                  <a:schemeClr val="accent1">
                    <a:lumMod val="45000"/>
                    <a:lumOff val="55000"/>
                  </a:schemeClr>
                </a:gs>
                <a:gs pos="71000">
                  <a:schemeClr val="accent1">
                    <a:lumMod val="54000"/>
                    <a:lumOff val="46000"/>
                  </a:schemeClr>
                </a:gs>
                <a:gs pos="100000">
                  <a:schemeClr val="accent1">
                    <a:lumMod val="77000"/>
                  </a:schemeClr>
                </a:gs>
              </a:gsLst>
              <a:lin ang="0" scaled="0"/>
            </a:gradFill>
            <a:headEnd w="lg" len="med"/>
            <a:tailEnd type="stealth"/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E9BB2C33-0C87-A94E-9593-FCFC4D992233}"/>
              </a:ext>
            </a:extLst>
          </p:cNvPr>
          <p:cNvSpPr txBox="1"/>
          <p:nvPr/>
        </p:nvSpPr>
        <p:spPr>
          <a:xfrm>
            <a:off x="4545764" y="6087667"/>
            <a:ext cx="3121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Progression of the </a:t>
            </a:r>
            <a:r>
              <a:rPr lang="fr-FR" dirty="0" err="1">
                <a:latin typeface="Arial" panose="020B0604020202020204" pitchFamily="34" charset="0"/>
                <a:cs typeface="Arial" panose="020B0604020202020204" pitchFamily="34" charset="0"/>
              </a:rPr>
              <a:t>internship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133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6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CED65DC5-C7E9-485C-BBE6-0309999129F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11" name="Diagramme 10">
                <a:extLst>
                  <a:ext uri="{FF2B5EF4-FFF2-40B4-BE49-F238E27FC236}">
                    <a16:creationId xmlns:a16="http://schemas.microsoft.com/office/drawing/2014/main" id="{D7FC7DCB-50F8-954F-9F0E-489D349FBBB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67514807"/>
                  </p:ext>
                </p:extLst>
              </p:nvPr>
            </p:nvGraphicFramePr>
            <p:xfrm>
              <a:off x="6234406" y="1206554"/>
              <a:ext cx="11915187" cy="541866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" r:lo="rId7" r:qs="rId8" r:cs="rId9"/>
              </a:graphicData>
            </a:graphic>
          </p:graphicFrame>
        </mc:Choice>
        <mc:Fallback>
          <p:graphicFrame>
            <p:nvGraphicFramePr>
              <p:cNvPr id="11" name="Diagramme 10">
                <a:extLst>
                  <a:ext uri="{FF2B5EF4-FFF2-40B4-BE49-F238E27FC236}">
                    <a16:creationId xmlns:a16="http://schemas.microsoft.com/office/drawing/2014/main" id="{D7FC7DCB-50F8-954F-9F0E-489D349FBBB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67514807"/>
                  </p:ext>
                </p:extLst>
              </p:nvPr>
            </p:nvGraphicFramePr>
            <p:xfrm>
              <a:off x="6234406" y="1206554"/>
              <a:ext cx="11915187" cy="541866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1" r:lo="rId7" r:qs="rId8" r:cs="rId9"/>
              </a:graphicData>
            </a:graphic>
          </p:graphicFrame>
        </mc:Fallback>
      </mc:AlternateContent>
      <p:grpSp>
        <p:nvGrpSpPr>
          <p:cNvPr id="2" name="Groupe 1">
            <a:extLst>
              <a:ext uri="{FF2B5EF4-FFF2-40B4-BE49-F238E27FC236}">
                <a16:creationId xmlns:a16="http://schemas.microsoft.com/office/drawing/2014/main" id="{E4B80E00-3783-4145-AE0D-D287E3C62B40}"/>
              </a:ext>
            </a:extLst>
          </p:cNvPr>
          <p:cNvGrpSpPr/>
          <p:nvPr/>
        </p:nvGrpSpPr>
        <p:grpSpPr>
          <a:xfrm>
            <a:off x="499730" y="3352201"/>
            <a:ext cx="5030644" cy="801890"/>
            <a:chOff x="499730" y="3263646"/>
            <a:chExt cx="5030644" cy="80189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7BE2972A-0C64-8A42-9678-58C012BBD2F8}"/>
                    </a:ext>
                  </a:extLst>
                </p:cNvPr>
                <p:cNvSpPr/>
                <p:nvPr/>
              </p:nvSpPr>
              <p:spPr>
                <a:xfrm>
                  <a:off x="937084" y="3263646"/>
                  <a:ext cx="4593290" cy="80189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rtlCol="0" anchor="ctr"/>
                <a:lstStyle/>
                <a:p>
                  <a:pPr lvl="1" algn="ctr"/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 Use </a:t>
                  </a:r>
                  <a:r>
                    <a:rPr lang="fr-FR" sz="20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ast</a:t>
                  </a:r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fr-FR" sz="20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𝑬</m:t>
                      </m:r>
                    </m:oMath>
                  </a14:m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20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stimated</a:t>
                  </a:r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by </a:t>
                  </a:r>
                  <a:r>
                    <a:rPr lang="fr-FR" sz="20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airwise</a:t>
                  </a:r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o </a:t>
                  </a:r>
                  <a:r>
                    <a:rPr lang="fr-FR" sz="20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edict</a:t>
                  </a:r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he </a:t>
                  </a:r>
                  <a:r>
                    <a:rPr lang="fr-FR" sz="20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ext</a:t>
                  </a:r>
                  <a:r>
                    <a:rPr lang="fr-FR" sz="20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fr-FR" sz="20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𝑬</m:t>
                      </m:r>
                    </m:oMath>
                  </a14:m>
                  <a:endParaRPr lang="fr-FR" sz="20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7BE2972A-0C64-8A42-9678-58C012BBD2F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7084" y="3263646"/>
                  <a:ext cx="4593290" cy="801890"/>
                </a:xfrm>
                <a:prstGeom prst="rect">
                  <a:avLst/>
                </a:prstGeom>
                <a:blipFill>
                  <a:blip r:embed="rId15"/>
                  <a:stretch>
                    <a:fillRect r="-1105" b="-634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EEABD3EC-BFF0-E147-8FF8-28F63905642F}"/>
                </a:ext>
              </a:extLst>
            </p:cNvPr>
            <p:cNvSpPr/>
            <p:nvPr/>
          </p:nvSpPr>
          <p:spPr>
            <a:xfrm>
              <a:off x="499730" y="3263646"/>
              <a:ext cx="888133" cy="80189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3" name="Graphique 32" descr="Double geste d’appui">
              <a:extLst>
                <a:ext uri="{FF2B5EF4-FFF2-40B4-BE49-F238E27FC236}">
                  <a16:creationId xmlns:a16="http://schemas.microsoft.com/office/drawing/2014/main" id="{E4BB8175-20D5-1541-BE0D-E651CC5CE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8880" y="3426387"/>
              <a:ext cx="476408" cy="476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4641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753DCB0-EBCC-41A1-930A-52C3B580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B4134C-9DE4-5140-AB70-CA2B702F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13" y="245280"/>
            <a:ext cx="11659272" cy="652672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fr-FR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11691905" y="584151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8E39DF3-687A-41C8-A0B1-9206CC48BBE9}"/>
              </a:ext>
            </a:extLst>
          </p:cNvPr>
          <p:cNvGrpSpPr/>
          <p:nvPr/>
        </p:nvGrpSpPr>
        <p:grpSpPr>
          <a:xfrm>
            <a:off x="1362032" y="1634285"/>
            <a:ext cx="10514535" cy="442797"/>
            <a:chOff x="596489" y="1855684"/>
            <a:chExt cx="11272384" cy="442797"/>
          </a:xfrm>
        </p:grpSpPr>
        <p:sp>
          <p:nvSpPr>
            <p:cNvPr id="20" name="Espace réservé du texte 2">
              <a:extLst>
                <a:ext uri="{FF2B5EF4-FFF2-40B4-BE49-F238E27FC236}">
                  <a16:creationId xmlns:a16="http://schemas.microsoft.com/office/drawing/2014/main" id="{6FD93523-D9D1-49F6-95C5-C069A3292416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>
                  <a:srgbClr val="3C3C3B"/>
                </a:buClr>
                <a:defRPr/>
              </a:pPr>
              <a:r>
                <a:rPr lang="fr-FR" sz="24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Arial" panose="020B0604020202020204" pitchFamily="34" charset="0"/>
                </a:rPr>
                <a:t>Contex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Espace réservé du texte 8">
              <a:extLst>
                <a:ext uri="{FF2B5EF4-FFF2-40B4-BE49-F238E27FC236}">
                  <a16:creationId xmlns:a16="http://schemas.microsoft.com/office/drawing/2014/main" id="{051D5604-3503-4744-BC39-03318BA01345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1  | </a:t>
              </a:r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8AAB2752-181C-4B7C-B378-90BC3E9FCC6A}"/>
              </a:ext>
            </a:extLst>
          </p:cNvPr>
          <p:cNvGrpSpPr/>
          <p:nvPr/>
        </p:nvGrpSpPr>
        <p:grpSpPr>
          <a:xfrm>
            <a:off x="1362032" y="2618345"/>
            <a:ext cx="10514535" cy="442797"/>
            <a:chOff x="596489" y="1908849"/>
            <a:chExt cx="11272384" cy="442797"/>
          </a:xfrm>
        </p:grpSpPr>
        <p:sp>
          <p:nvSpPr>
            <p:cNvPr id="44" name="Espace réservé du texte 2">
              <a:extLst>
                <a:ext uri="{FF2B5EF4-FFF2-40B4-BE49-F238E27FC236}">
                  <a16:creationId xmlns:a16="http://schemas.microsoft.com/office/drawing/2014/main" id="{FE99FF26-5593-407E-9D8C-6837E46783AA}"/>
                </a:ext>
              </a:extLst>
            </p:cNvPr>
            <p:cNvSpPr txBox="1">
              <a:spLocks/>
            </p:cNvSpPr>
            <p:nvPr/>
          </p:nvSpPr>
          <p:spPr>
            <a:xfrm>
              <a:off x="2130664" y="1908849"/>
              <a:ext cx="9738209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24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Arial" panose="020B0604020202020204" pitchFamily="34" charset="0"/>
                </a:rPr>
                <a:t>Method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Espace réservé du texte 8">
              <a:extLst>
                <a:ext uri="{FF2B5EF4-FFF2-40B4-BE49-F238E27FC236}">
                  <a16:creationId xmlns:a16="http://schemas.microsoft.com/office/drawing/2014/main" id="{77D47355-E53A-4C29-BF77-1426EDFE8602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2  | 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64A69B7A-570B-4543-A4AF-F45D7209E546}"/>
              </a:ext>
            </a:extLst>
          </p:cNvPr>
          <p:cNvGrpSpPr/>
          <p:nvPr/>
        </p:nvGrpSpPr>
        <p:grpSpPr>
          <a:xfrm>
            <a:off x="1362032" y="3496075"/>
            <a:ext cx="10514535" cy="442797"/>
            <a:chOff x="596489" y="1855684"/>
            <a:chExt cx="11272384" cy="442797"/>
          </a:xfrm>
        </p:grpSpPr>
        <p:sp>
          <p:nvSpPr>
            <p:cNvPr id="47" name="Espace réservé du texte 2">
              <a:extLst>
                <a:ext uri="{FF2B5EF4-FFF2-40B4-BE49-F238E27FC236}">
                  <a16:creationId xmlns:a16="http://schemas.microsoft.com/office/drawing/2014/main" id="{E7575B5F-69CD-475A-9BF3-91A11DC21553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Results</a:t>
              </a:r>
            </a:p>
            <a:p>
              <a:endParaRPr lang="fr-FR" dirty="0"/>
            </a:p>
          </p:txBody>
        </p:sp>
        <p:sp>
          <p:nvSpPr>
            <p:cNvPr id="48" name="Espace réservé du texte 8">
              <a:extLst>
                <a:ext uri="{FF2B5EF4-FFF2-40B4-BE49-F238E27FC236}">
                  <a16:creationId xmlns:a16="http://schemas.microsoft.com/office/drawing/2014/main" id="{7C13282E-00C9-4A0C-BF2B-DDCB25F7ED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75000"/>
                    </a:schemeClr>
                  </a:solidFill>
                  <a:latin typeface="Open sans"/>
                </a:rPr>
                <a:t>3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1DE6E0EE-425C-4AE5-A930-13AF9A0BC1B7}"/>
              </a:ext>
            </a:extLst>
          </p:cNvPr>
          <p:cNvGrpSpPr/>
          <p:nvPr/>
        </p:nvGrpSpPr>
        <p:grpSpPr>
          <a:xfrm>
            <a:off x="1362032" y="4405703"/>
            <a:ext cx="10514535" cy="442797"/>
            <a:chOff x="596489" y="1834418"/>
            <a:chExt cx="11272384" cy="442797"/>
          </a:xfrm>
        </p:grpSpPr>
        <p:sp>
          <p:nvSpPr>
            <p:cNvPr id="50" name="Espace réservé du texte 2">
              <a:extLst>
                <a:ext uri="{FF2B5EF4-FFF2-40B4-BE49-F238E27FC236}">
                  <a16:creationId xmlns:a16="http://schemas.microsoft.com/office/drawing/2014/main" id="{3DE2B167-7210-438D-9B16-1F5ABE733582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34418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Conclusion</a:t>
              </a:r>
            </a:p>
            <a:p>
              <a:endParaRPr lang="fr-FR" dirty="0"/>
            </a:p>
          </p:txBody>
        </p:sp>
        <p:sp>
          <p:nvSpPr>
            <p:cNvPr id="51" name="Espace réservé du texte 8">
              <a:extLst>
                <a:ext uri="{FF2B5EF4-FFF2-40B4-BE49-F238E27FC236}">
                  <a16:creationId xmlns:a16="http://schemas.microsoft.com/office/drawing/2014/main" id="{30436E7D-C2AC-4A93-A207-860A33BD92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4  |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15786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6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k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l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on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fr-FR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a</a:t>
              </a:r>
              <a:r>
                <a:rPr lang="fr-FR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 zone of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y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ast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the </a:t>
              </a:r>
              <a:r>
                <a:rPr lang="fr-FR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rk</a:t>
              </a:r>
              <a:r>
                <a:rPr lang="fr-FR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le</a:t>
              </a:r>
              <a:endPara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2D781A22-BA3C-8241-9CF7-C97A1121D7B3}"/>
              </a:ext>
            </a:extLst>
          </p:cNvPr>
          <p:cNvGrpSpPr/>
          <p:nvPr/>
        </p:nvGrpSpPr>
        <p:grpSpPr>
          <a:xfrm>
            <a:off x="580265" y="2056496"/>
            <a:ext cx="10829452" cy="2723086"/>
            <a:chOff x="499730" y="2140683"/>
            <a:chExt cx="10829452" cy="2723086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B7C399D7-B49E-DD4B-98C5-2153B0906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9730" y="2140683"/>
              <a:ext cx="3284480" cy="2723086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78E9E46D-357B-BA43-BFF1-0CFB694E6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97032" y="2140683"/>
              <a:ext cx="3232150" cy="2679700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42752222-746B-904A-A8CF-F9B5605C8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24546" y="2140683"/>
              <a:ext cx="3232150" cy="2679700"/>
            </a:xfrm>
            <a:prstGeom prst="rect">
              <a:avLst/>
            </a:prstGeom>
          </p:spPr>
        </p:pic>
      </p:grpSp>
      <p:sp>
        <p:nvSpPr>
          <p:cNvPr id="24" name="Rectangle : coins arrondis 30">
            <a:extLst>
              <a:ext uri="{FF2B5EF4-FFF2-40B4-BE49-F238E27FC236}">
                <a16:creationId xmlns:a16="http://schemas.microsoft.com/office/drawing/2014/main" id="{16082B55-2FED-4547-A9A6-927A24A07AA4}"/>
              </a:ext>
            </a:extLst>
          </p:cNvPr>
          <p:cNvSpPr/>
          <p:nvPr/>
        </p:nvSpPr>
        <p:spPr>
          <a:xfrm>
            <a:off x="777311" y="5004744"/>
            <a:ext cx="3627770" cy="1730109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K HOLE CREATION</a:t>
            </a:r>
          </a:p>
          <a:p>
            <a:pPr algn="ctr"/>
            <a:endPara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rwise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imati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endParaRPr lang="fr-F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 : coins arrondis 30">
            <a:extLst>
              <a:ext uri="{FF2B5EF4-FFF2-40B4-BE49-F238E27FC236}">
                <a16:creationId xmlns:a16="http://schemas.microsoft.com/office/drawing/2014/main" id="{F5CC86C7-154F-CE49-AA4E-036B10801722}"/>
              </a:ext>
            </a:extLst>
          </p:cNvPr>
          <p:cNvSpPr/>
          <p:nvPr/>
        </p:nvSpPr>
        <p:spPr>
          <a:xfrm>
            <a:off x="7637231" y="5004744"/>
            <a:ext cx="3627770" cy="1730109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K HOLE MAINTENANCE</a:t>
            </a:r>
          </a:p>
          <a:p>
            <a:pPr algn="ctr"/>
            <a:endPara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x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rwise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endParaRPr lang="fr-F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Diagramme 20">
            <a:extLst>
              <a:ext uri="{FF2B5EF4-FFF2-40B4-BE49-F238E27FC236}">
                <a16:creationId xmlns:a16="http://schemas.microsoft.com/office/drawing/2014/main" id="{0FB589CF-D7B3-694E-9F47-B4EA9BCFAE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0836372"/>
              </p:ext>
            </p:extLst>
          </p:nvPr>
        </p:nvGraphicFramePr>
        <p:xfrm>
          <a:off x="4168189" y="4792965"/>
          <a:ext cx="3705934" cy="2153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9931623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h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bed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mulator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979E3F7F-2668-BD4C-B0EE-0195D31B141C}"/>
              </a:ext>
            </a:extLst>
          </p:cNvPr>
          <p:cNvGrpSpPr/>
          <p:nvPr/>
        </p:nvGrpSpPr>
        <p:grpSpPr>
          <a:xfrm>
            <a:off x="737279" y="5974318"/>
            <a:ext cx="10585897" cy="651565"/>
            <a:chOff x="879272" y="6016521"/>
            <a:chExt cx="10585897" cy="6515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811EC1B-205A-6147-9BA3-F32478BF56BC}"/>
                </a:ext>
              </a:extLst>
            </p:cNvPr>
            <p:cNvSpPr/>
            <p:nvPr/>
          </p:nvSpPr>
          <p:spPr>
            <a:xfrm>
              <a:off x="889721" y="6016521"/>
              <a:ext cx="10575448" cy="65156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indent="-342900" algn="ctr">
                <a:buFont typeface="Arial" panose="020B0604020202020204" pitchFamily="34" charset="0"/>
                <a:buChar char="•"/>
              </a:pP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ast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ilar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the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est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values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rrently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hieve</a:t>
              </a:r>
              <a:endPara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Graphique 15" descr="Commentaire important">
              <a:extLst>
                <a:ext uri="{FF2B5EF4-FFF2-40B4-BE49-F238E27FC236}">
                  <a16:creationId xmlns:a16="http://schemas.microsoft.com/office/drawing/2014/main" id="{6A7C0C60-6E55-8442-9044-044C65AE5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9272" y="6161454"/>
              <a:ext cx="361699" cy="361699"/>
            </a:xfrm>
            <a:prstGeom prst="rect">
              <a:avLst/>
            </a:prstGeom>
          </p:spPr>
        </p:pic>
      </p:grp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79B6EF17-44E0-E541-82F0-1F4C29F7AAC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51E7FED-D4D7-CF45-8DBC-C0F9618074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5317" y="1098561"/>
            <a:ext cx="5944590" cy="4125511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72721E64-C7BF-E043-916D-3AF50C4A67A6}"/>
              </a:ext>
            </a:extLst>
          </p:cNvPr>
          <p:cNvSpPr txBox="1"/>
          <p:nvPr/>
        </p:nvSpPr>
        <p:spPr>
          <a:xfrm>
            <a:off x="7619057" y="5334442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st</a:t>
            </a:r>
            <a:r>
              <a:rPr lang="fr-FR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s </a:t>
            </a:r>
            <a:r>
              <a:rPr lang="fr-FR" b="1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rations</a:t>
            </a:r>
            <a:endParaRPr lang="fr-FR" b="1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4B86DD9E-BBD2-5043-A3F2-E9F0A5B90E0A}"/>
              </a:ext>
            </a:extLst>
          </p:cNvPr>
          <p:cNvGrpSpPr/>
          <p:nvPr/>
        </p:nvGrpSpPr>
        <p:grpSpPr>
          <a:xfrm>
            <a:off x="276813" y="2134430"/>
            <a:ext cx="5495261" cy="2537366"/>
            <a:chOff x="120075" y="1831334"/>
            <a:chExt cx="5495261" cy="2539454"/>
          </a:xfrm>
        </p:grpSpPr>
        <p:grpSp>
          <p:nvGrpSpPr>
            <p:cNvPr id="39" name="Groupe 38">
              <a:extLst>
                <a:ext uri="{FF2B5EF4-FFF2-40B4-BE49-F238E27FC236}">
                  <a16:creationId xmlns:a16="http://schemas.microsoft.com/office/drawing/2014/main" id="{25C1D365-D184-C140-AA7A-F704BCAB9F28}"/>
                </a:ext>
              </a:extLst>
            </p:cNvPr>
            <p:cNvGrpSpPr/>
            <p:nvPr/>
          </p:nvGrpSpPr>
          <p:grpSpPr>
            <a:xfrm>
              <a:off x="127661" y="1831334"/>
              <a:ext cx="5480089" cy="1132701"/>
              <a:chOff x="445228" y="2247562"/>
              <a:chExt cx="5480089" cy="1132701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16B6226-3BAB-D649-BD7C-3B02BAE404E2}"/>
                  </a:ext>
                </a:extLst>
              </p:cNvPr>
              <p:cNvSpPr/>
              <p:nvPr/>
            </p:nvSpPr>
            <p:spPr>
              <a:xfrm>
                <a:off x="937085" y="2247562"/>
                <a:ext cx="4988232" cy="113270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marL="1200150" lvl="2" indent="-285750">
                  <a:buFont typeface="Arial" panose="020B0604020202020204" pitchFamily="34" charset="0"/>
                  <a:buChar char="•"/>
                </a:pPr>
                <a:r>
                  <a:rPr lang="fr-FR" sz="2000" b="1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ric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s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e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rk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le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maintenance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trast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ing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e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dictive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lter</a:t>
                </a:r>
                <a:r>
                  <a:rPr lang="fr-FR" sz="200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  <a:endParaRPr lang="fr-FR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963D77E6-D90A-C540-8F27-BC57E1FA8DA3}"/>
                  </a:ext>
                </a:extLst>
              </p:cNvPr>
              <p:cNvSpPr/>
              <p:nvPr/>
            </p:nvSpPr>
            <p:spPr>
              <a:xfrm>
                <a:off x="445228" y="2247563"/>
                <a:ext cx="1035262" cy="11327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33" name="Graphique 32" descr="Loupe">
                <a:extLst>
                  <a:ext uri="{FF2B5EF4-FFF2-40B4-BE49-F238E27FC236}">
                    <a16:creationId xmlns:a16="http://schemas.microsoft.com/office/drawing/2014/main" id="{CD1CD232-6EF5-8849-9DE9-911A76D7B7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67806" y="2518859"/>
                <a:ext cx="590105" cy="590105"/>
              </a:xfrm>
              <a:prstGeom prst="rect">
                <a:avLst/>
              </a:prstGeom>
            </p:spPr>
          </p:pic>
        </p:grpSp>
        <p:grpSp>
          <p:nvGrpSpPr>
            <p:cNvPr id="38" name="Groupe 37">
              <a:extLst>
                <a:ext uri="{FF2B5EF4-FFF2-40B4-BE49-F238E27FC236}">
                  <a16:creationId xmlns:a16="http://schemas.microsoft.com/office/drawing/2014/main" id="{3AE54209-FC46-9B46-9E16-AA3D7DD2E96E}"/>
                </a:ext>
              </a:extLst>
            </p:cNvPr>
            <p:cNvGrpSpPr/>
            <p:nvPr/>
          </p:nvGrpSpPr>
          <p:grpSpPr>
            <a:xfrm>
              <a:off x="120075" y="3256398"/>
              <a:ext cx="5495261" cy="1114390"/>
              <a:chOff x="499730" y="3672626"/>
              <a:chExt cx="5495261" cy="1114390"/>
            </a:xfrm>
          </p:grpSpPr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E206BB88-C8F9-8F4A-A11B-2A64DB3B22C7}"/>
                      </a:ext>
                    </a:extLst>
                  </p:cNvPr>
                  <p:cNvSpPr/>
                  <p:nvPr/>
                </p:nvSpPr>
                <p:spPr>
                  <a:xfrm>
                    <a:off x="1022531" y="3688968"/>
                    <a:ext cx="4972460" cy="1098048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numCol="1" rtlCol="0" anchor="ctr"/>
                  <a:lstStyle/>
                  <a:p>
                    <a:pPr lvl="1" algn="ctr"/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</a:t>
                    </a:r>
                    <a:r>
                      <a:rPr lang="fr-FR" sz="2000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esired</a:t>
                    </a:r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fr-FR" sz="2000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ontrast</a:t>
                    </a:r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to </a:t>
                    </a:r>
                    <a:r>
                      <a:rPr lang="fr-FR" sz="2000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reach</a:t>
                    </a:r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for </a:t>
                    </a:r>
                    <a:r>
                      <a:rPr lang="fr-FR" sz="2000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pace</a:t>
                    </a:r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missions </a:t>
                    </a:r>
                    <a:r>
                      <a:rPr lang="fr-FR" sz="2000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is</a:t>
                    </a:r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14:m>
                      <m:oMath xmlns:m="http://schemas.openxmlformats.org/officeDocument/2006/math">
                        <m:sSup>
                          <m:sSupPr>
                            <m:ctrlPr>
                              <a:rPr lang="fr-FR" sz="20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pPr>
                          <m:e>
                            <m:r>
                              <a:rPr lang="fr-FR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0</m:t>
                            </m:r>
                          </m:e>
                          <m:sup>
                            <m:r>
                              <a:rPr lang="fr-FR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−10</m:t>
                            </m:r>
                          </m:sup>
                        </m:sSup>
                      </m:oMath>
                    </a14:m>
                    <a:r>
                      <a:rPr lang="fr-FR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endParaRPr lang="fr-FR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mc:Choice>
            <mc:Fallback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E206BB88-C8F9-8F4A-A11B-2A64DB3B22C7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2531" y="3688968"/>
                    <a:ext cx="4972460" cy="1098048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F2292399-2762-4742-8269-5539AD970DB8}"/>
                  </a:ext>
                </a:extLst>
              </p:cNvPr>
              <p:cNvSpPr/>
              <p:nvPr/>
            </p:nvSpPr>
            <p:spPr>
              <a:xfrm>
                <a:off x="499730" y="3672626"/>
                <a:ext cx="980760" cy="1094879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37" name="Graphique 36" descr="Double geste d’appui">
                <a:extLst>
                  <a:ext uri="{FF2B5EF4-FFF2-40B4-BE49-F238E27FC236}">
                    <a16:creationId xmlns:a16="http://schemas.microsoft.com/office/drawing/2014/main" id="{A7CFBE4B-AEAE-6840-B746-505A60C627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42805" y="3858048"/>
                <a:ext cx="691660" cy="69166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5551909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h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bed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CED65DC5-C7E9-485C-BBE6-0309999129F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8AF161E9-AEA7-5D48-8B07-6168D5BDD63B}"/>
              </a:ext>
            </a:extLst>
          </p:cNvPr>
          <p:cNvGrpSpPr/>
          <p:nvPr/>
        </p:nvGrpSpPr>
        <p:grpSpPr>
          <a:xfrm>
            <a:off x="499730" y="1253924"/>
            <a:ext cx="10669154" cy="2781860"/>
            <a:chOff x="499729" y="2140682"/>
            <a:chExt cx="10669154" cy="2781860"/>
          </a:xfrm>
        </p:grpSpPr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0110871A-99B9-4748-B82A-42A665B6068D}"/>
                </a:ext>
              </a:extLst>
            </p:cNvPr>
            <p:cNvGrpSpPr/>
            <p:nvPr/>
          </p:nvGrpSpPr>
          <p:grpSpPr>
            <a:xfrm>
              <a:off x="499729" y="2140682"/>
              <a:ext cx="6658379" cy="2781860"/>
              <a:chOff x="499729" y="2140682"/>
              <a:chExt cx="6658379" cy="2781860"/>
            </a:xfrm>
          </p:grpSpPr>
          <p:pic>
            <p:nvPicPr>
              <p:cNvPr id="14" name="Espace réservé du contenu 5">
                <a:extLst>
                  <a:ext uri="{FF2B5EF4-FFF2-40B4-BE49-F238E27FC236}">
                    <a16:creationId xmlns:a16="http://schemas.microsoft.com/office/drawing/2014/main" id="{C379BD8B-74AD-EF4E-8611-C07F5D22C8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99729" y="2511453"/>
                <a:ext cx="6658379" cy="2411089"/>
              </a:xfrm>
              <a:prstGeom prst="rect">
                <a:avLst/>
              </a:prstGeom>
            </p:spPr>
          </p:pic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D7CCDD28-4DD2-6746-9B6A-1A68FC2FE9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99730" y="2140682"/>
                <a:ext cx="6658378" cy="254035"/>
              </a:xfrm>
              <a:prstGeom prst="rect">
                <a:avLst/>
              </a:prstGeom>
            </p:spPr>
          </p:pic>
        </p:grpSp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76FDD5A6-00E3-174B-8957-2D8A77E1C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798155" y="2209060"/>
              <a:ext cx="1370728" cy="2713482"/>
            </a:xfrm>
            <a:prstGeom prst="rect">
              <a:avLst/>
            </a:prstGeom>
          </p:spPr>
        </p:pic>
      </p:grpSp>
      <p:graphicFrame>
        <p:nvGraphicFramePr>
          <p:cNvPr id="16" name="Diagramme 15">
            <a:extLst>
              <a:ext uri="{FF2B5EF4-FFF2-40B4-BE49-F238E27FC236}">
                <a16:creationId xmlns:a16="http://schemas.microsoft.com/office/drawing/2014/main" id="{B3932CBA-265B-9443-9161-806B1766B3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2881921"/>
              </p:ext>
            </p:extLst>
          </p:nvPr>
        </p:nvGraphicFramePr>
        <p:xfrm>
          <a:off x="783771" y="2839978"/>
          <a:ext cx="938667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892336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0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h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bed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979E3F7F-2668-BD4C-B0EE-0195D31B141C}"/>
              </a:ext>
            </a:extLst>
          </p:cNvPr>
          <p:cNvGrpSpPr/>
          <p:nvPr/>
        </p:nvGrpSpPr>
        <p:grpSpPr>
          <a:xfrm>
            <a:off x="737279" y="5974318"/>
            <a:ext cx="10585897" cy="651565"/>
            <a:chOff x="879272" y="6016521"/>
            <a:chExt cx="10585897" cy="6515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811EC1B-205A-6147-9BA3-F32478BF56BC}"/>
                </a:ext>
              </a:extLst>
            </p:cNvPr>
            <p:cNvSpPr/>
            <p:nvPr/>
          </p:nvSpPr>
          <p:spPr>
            <a:xfrm>
              <a:off x="889721" y="6016521"/>
              <a:ext cx="10575448" cy="65156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indent="-342900" algn="ctr">
                <a:buFont typeface="Arial" panose="020B0604020202020204" pitchFamily="34" charset="0"/>
                <a:buChar char="•"/>
              </a:pP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ge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ction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uting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ime</a:t>
              </a:r>
            </a:p>
            <a:p>
              <a:pPr marL="342900" indent="-342900" algn="ctr">
                <a:buFont typeface="Arial" panose="020B0604020202020204" pitchFamily="34" charset="0"/>
                <a:buChar char="•"/>
              </a:pP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ed</a:t>
              </a:r>
              <a:r>
                <a:rPr lang="fr-FR" sz="20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r probes </a:t>
              </a:r>
              <a:r>
                <a:rPr lang="fr-FR" sz="20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ymore</a:t>
              </a:r>
              <a:endPara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Graphique 15" descr="Commentaire important">
              <a:extLst>
                <a:ext uri="{FF2B5EF4-FFF2-40B4-BE49-F238E27FC236}">
                  <a16:creationId xmlns:a16="http://schemas.microsoft.com/office/drawing/2014/main" id="{6A7C0C60-6E55-8442-9044-044C65AE5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9272" y="6161454"/>
              <a:ext cx="361699" cy="361699"/>
            </a:xfrm>
            <a:prstGeom prst="rect">
              <a:avLst/>
            </a:prstGeom>
          </p:spPr>
        </p:pic>
      </p:grp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79B6EF17-44E0-E541-82F0-1F4C29F7AAC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914FCDE1-601C-8845-8CEF-0F73D4CE10EA}"/>
              </a:ext>
            </a:extLst>
          </p:cNvPr>
          <p:cNvGrpSpPr/>
          <p:nvPr/>
        </p:nvGrpSpPr>
        <p:grpSpPr>
          <a:xfrm>
            <a:off x="5395828" y="1399625"/>
            <a:ext cx="7210255" cy="4217399"/>
            <a:chOff x="4145300" y="1769553"/>
            <a:chExt cx="7091939" cy="3846400"/>
          </a:xfrm>
        </p:grpSpPr>
        <p:pic>
          <p:nvPicPr>
            <p:cNvPr id="14" name="Espace réservé du contenu 5">
              <a:extLst>
                <a:ext uri="{FF2B5EF4-FFF2-40B4-BE49-F238E27FC236}">
                  <a16:creationId xmlns:a16="http://schemas.microsoft.com/office/drawing/2014/main" id="{FA802EDC-E4E5-4744-B4CC-BB7A020A906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657046" y="1769553"/>
              <a:ext cx="5340365" cy="3376996"/>
            </a:xfrm>
            <a:prstGeom prst="rect">
              <a:avLst/>
            </a:prstGeom>
          </p:spPr>
        </p:pic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7843BDA5-4D64-5146-85CA-E094B63D4BC5}"/>
                </a:ext>
              </a:extLst>
            </p:cNvPr>
            <p:cNvSpPr txBox="1"/>
            <p:nvPr/>
          </p:nvSpPr>
          <p:spPr>
            <a:xfrm>
              <a:off x="4145300" y="5219151"/>
              <a:ext cx="7091939" cy="3968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 </a:t>
              </a:r>
              <a:r>
                <a:rPr lang="fr-FR" sz="1600" b="1" i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fference</a:t>
              </a:r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b="1" i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tween</a:t>
              </a:r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b="1" i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</a:t>
              </a:r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b="1" i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lter</a:t>
              </a:r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fr-FR" sz="1600" b="1" i="1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irwise</a:t>
              </a:r>
              <a:r>
                <a:rPr lang="fr-FR" sz="1600" b="1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stimation</a:t>
              </a:r>
            </a:p>
          </p:txBody>
        </p:sp>
      </p:grpSp>
      <p:sp>
        <p:nvSpPr>
          <p:cNvPr id="27" name="Espace réservé du contenu 2">
            <a:extLst>
              <a:ext uri="{FF2B5EF4-FFF2-40B4-BE49-F238E27FC236}">
                <a16:creationId xmlns:a16="http://schemas.microsoft.com/office/drawing/2014/main" id="{401DC263-41CC-6F41-BE4C-07199F7D19CA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65154453-CCBD-494B-BC09-E92AB0BD2EB6}"/>
              </a:ext>
            </a:extLst>
          </p:cNvPr>
          <p:cNvGrpSpPr/>
          <p:nvPr/>
        </p:nvGrpSpPr>
        <p:grpSpPr>
          <a:xfrm>
            <a:off x="186252" y="2134430"/>
            <a:ext cx="5495261" cy="2537366"/>
            <a:chOff x="120075" y="1831334"/>
            <a:chExt cx="5495261" cy="2539454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8002F07A-72AB-F54A-88F8-72ADE36441B7}"/>
                </a:ext>
              </a:extLst>
            </p:cNvPr>
            <p:cNvGrpSpPr/>
            <p:nvPr/>
          </p:nvGrpSpPr>
          <p:grpSpPr>
            <a:xfrm>
              <a:off x="127661" y="1831334"/>
              <a:ext cx="5480089" cy="1132701"/>
              <a:chOff x="445228" y="2247562"/>
              <a:chExt cx="5480089" cy="1132701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EFA79A3-C7FC-1146-952B-9C7702A4F061}"/>
                  </a:ext>
                </a:extLst>
              </p:cNvPr>
              <p:cNvSpPr/>
              <p:nvPr/>
            </p:nvSpPr>
            <p:spPr>
              <a:xfrm>
                <a:off x="937085" y="2247562"/>
                <a:ext cx="4988232" cy="113270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marL="1200150" lvl="2" indent="-285750">
                  <a:buFont typeface="Arial" panose="020B0604020202020204" pitchFamily="34" charset="0"/>
                  <a:buChar char="•"/>
                </a:pPr>
                <a:r>
                  <a:rPr lang="fr-FR" b="1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ric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at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s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e gain in time </a:t>
                </a:r>
                <a:r>
                  <a:rPr lang="fr-FR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ith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e </a:t>
                </a:r>
                <a:r>
                  <a:rPr lang="fr-FR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dictive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lter</a:t>
                </a:r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?</a:t>
                </a:r>
                <a:endParaRPr lang="fr-FR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14AD3D83-008B-2C48-9A4B-8716DF9C0E95}"/>
                  </a:ext>
                </a:extLst>
              </p:cNvPr>
              <p:cNvSpPr/>
              <p:nvPr/>
            </p:nvSpPr>
            <p:spPr>
              <a:xfrm>
                <a:off x="445228" y="2247563"/>
                <a:ext cx="1035262" cy="1132700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34" name="Graphique 33" descr="Loupe">
                <a:extLst>
                  <a:ext uri="{FF2B5EF4-FFF2-40B4-BE49-F238E27FC236}">
                    <a16:creationId xmlns:a16="http://schemas.microsoft.com/office/drawing/2014/main" id="{55C4EC7D-19E4-A24A-878F-9009926D22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67806" y="2518859"/>
                <a:ext cx="590105" cy="590105"/>
              </a:xfrm>
              <a:prstGeom prst="rect">
                <a:avLst/>
              </a:prstGeom>
            </p:spPr>
          </p:pic>
        </p:grpSp>
        <p:grpSp>
          <p:nvGrpSpPr>
            <p:cNvPr id="28" name="Groupe 27">
              <a:extLst>
                <a:ext uri="{FF2B5EF4-FFF2-40B4-BE49-F238E27FC236}">
                  <a16:creationId xmlns:a16="http://schemas.microsoft.com/office/drawing/2014/main" id="{A6A962C0-00FA-924E-9992-B9600DFD5529}"/>
                </a:ext>
              </a:extLst>
            </p:cNvPr>
            <p:cNvGrpSpPr/>
            <p:nvPr/>
          </p:nvGrpSpPr>
          <p:grpSpPr>
            <a:xfrm>
              <a:off x="120075" y="3256398"/>
              <a:ext cx="5495261" cy="1114390"/>
              <a:chOff x="499730" y="3672626"/>
              <a:chExt cx="5495261" cy="1114390"/>
            </a:xfrm>
          </p:grpSpPr>
          <mc:AlternateContent xmlns:mc="http://schemas.openxmlformats.org/markup-compatibility/2006">
            <mc:Choice xmlns:a14="http://schemas.microsoft.com/office/drawing/2010/main" Requires="a14"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559C4855-9C26-8844-B719-64658D5094B2}"/>
                      </a:ext>
                    </a:extLst>
                  </p:cNvPr>
                  <p:cNvSpPr/>
                  <p:nvPr/>
                </p:nvSpPr>
                <p:spPr>
                  <a:xfrm>
                    <a:off x="1022531" y="3688968"/>
                    <a:ext cx="4972460" cy="1098048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numCol="1" rtlCol="0" anchor="ctr"/>
                  <a:lstStyle/>
                  <a:p>
                    <a:pPr algn="ctr"/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On a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pace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telescope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, an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stimated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14:m>
                      <m:oMath xmlns:m="http://schemas.openxmlformats.org/officeDocument/2006/math">
                        <m:f>
                          <m:fPr>
                            <m:type m:val="skw"/>
                            <m:ctrlP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num>
                          <m:den>
                            <m: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5</m:t>
                            </m:r>
                          </m:den>
                        </m:f>
                      </m:oMath>
                    </a14:m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</a:p>
                  <a:p>
                    <a:pPr algn="ctr"/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of the time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will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be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llocated</a:t>
                    </a:r>
                    <a:r>
                      <a:rPr lang="fr-FR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for </a:t>
                    </a:r>
                    <a:r>
                      <a:rPr lang="fr-FR" dirty="0" err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robing</a:t>
                    </a:r>
                    <a:endParaRPr lang="fr-FR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mc:Choice>
            <mc:Fallback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559C4855-9C26-8844-B719-64658D5094B2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2531" y="3688968"/>
                    <a:ext cx="4972460" cy="1098048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t="-15909" b="-11364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C8F9FE7A-39EC-FF47-9849-694D5EBCE441}"/>
                  </a:ext>
                </a:extLst>
              </p:cNvPr>
              <p:cNvSpPr/>
              <p:nvPr/>
            </p:nvSpPr>
            <p:spPr>
              <a:xfrm>
                <a:off x="499730" y="3672626"/>
                <a:ext cx="980760" cy="1094879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31" name="Graphique 30" descr="Double geste d’appui">
                <a:extLst>
                  <a:ext uri="{FF2B5EF4-FFF2-40B4-BE49-F238E27FC236}">
                    <a16:creationId xmlns:a16="http://schemas.microsoft.com/office/drawing/2014/main" id="{1B82A5BE-76DC-6440-93A4-62DB1BFBB9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42805" y="3858048"/>
                <a:ext cx="691660" cy="69166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375840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753DCB0-EBCC-41A1-930A-52C3B580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B4134C-9DE4-5140-AB70-CA2B702F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13" y="245280"/>
            <a:ext cx="11659272" cy="652672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fr-FR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11691905" y="584151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8E39DF3-687A-41C8-A0B1-9206CC48BBE9}"/>
              </a:ext>
            </a:extLst>
          </p:cNvPr>
          <p:cNvGrpSpPr/>
          <p:nvPr/>
        </p:nvGrpSpPr>
        <p:grpSpPr>
          <a:xfrm>
            <a:off x="1362032" y="1634285"/>
            <a:ext cx="10514535" cy="442797"/>
            <a:chOff x="596489" y="1855684"/>
            <a:chExt cx="11272384" cy="442797"/>
          </a:xfrm>
        </p:grpSpPr>
        <p:sp>
          <p:nvSpPr>
            <p:cNvPr id="20" name="Espace réservé du texte 2">
              <a:extLst>
                <a:ext uri="{FF2B5EF4-FFF2-40B4-BE49-F238E27FC236}">
                  <a16:creationId xmlns:a16="http://schemas.microsoft.com/office/drawing/2014/main" id="{6FD93523-D9D1-49F6-95C5-C069A3292416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>
                  <a:srgbClr val="3C3C3B"/>
                </a:buClr>
                <a:defRPr/>
              </a:pPr>
              <a:r>
                <a:rPr lang="fr-FR" sz="24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Arial" panose="020B0604020202020204" pitchFamily="34" charset="0"/>
                </a:rPr>
                <a:t>Contex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Espace réservé du texte 8">
              <a:extLst>
                <a:ext uri="{FF2B5EF4-FFF2-40B4-BE49-F238E27FC236}">
                  <a16:creationId xmlns:a16="http://schemas.microsoft.com/office/drawing/2014/main" id="{051D5604-3503-4744-BC39-03318BA01345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1  | </a:t>
              </a:r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8AAB2752-181C-4B7C-B378-90BC3E9FCC6A}"/>
              </a:ext>
            </a:extLst>
          </p:cNvPr>
          <p:cNvGrpSpPr/>
          <p:nvPr/>
        </p:nvGrpSpPr>
        <p:grpSpPr>
          <a:xfrm>
            <a:off x="1362032" y="2618345"/>
            <a:ext cx="10514535" cy="442797"/>
            <a:chOff x="596489" y="1908849"/>
            <a:chExt cx="11272384" cy="442797"/>
          </a:xfrm>
        </p:grpSpPr>
        <p:sp>
          <p:nvSpPr>
            <p:cNvPr id="44" name="Espace réservé du texte 2">
              <a:extLst>
                <a:ext uri="{FF2B5EF4-FFF2-40B4-BE49-F238E27FC236}">
                  <a16:creationId xmlns:a16="http://schemas.microsoft.com/office/drawing/2014/main" id="{FE99FF26-5593-407E-9D8C-6837E46783AA}"/>
                </a:ext>
              </a:extLst>
            </p:cNvPr>
            <p:cNvSpPr txBox="1">
              <a:spLocks/>
            </p:cNvSpPr>
            <p:nvPr/>
          </p:nvSpPr>
          <p:spPr>
            <a:xfrm>
              <a:off x="2130664" y="1908849"/>
              <a:ext cx="9738209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24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Arial" panose="020B0604020202020204" pitchFamily="34" charset="0"/>
                </a:rPr>
                <a:t>Method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Espace réservé du texte 8">
              <a:extLst>
                <a:ext uri="{FF2B5EF4-FFF2-40B4-BE49-F238E27FC236}">
                  <a16:creationId xmlns:a16="http://schemas.microsoft.com/office/drawing/2014/main" id="{77D47355-E53A-4C29-BF77-1426EDFE8602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2  | 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64A69B7A-570B-4543-A4AF-F45D7209E546}"/>
              </a:ext>
            </a:extLst>
          </p:cNvPr>
          <p:cNvGrpSpPr/>
          <p:nvPr/>
        </p:nvGrpSpPr>
        <p:grpSpPr>
          <a:xfrm>
            <a:off x="1362032" y="3496075"/>
            <a:ext cx="10514535" cy="442797"/>
            <a:chOff x="596489" y="1855684"/>
            <a:chExt cx="11272384" cy="442797"/>
          </a:xfrm>
        </p:grpSpPr>
        <p:sp>
          <p:nvSpPr>
            <p:cNvPr id="47" name="Espace réservé du texte 2">
              <a:extLst>
                <a:ext uri="{FF2B5EF4-FFF2-40B4-BE49-F238E27FC236}">
                  <a16:creationId xmlns:a16="http://schemas.microsoft.com/office/drawing/2014/main" id="{E7575B5F-69CD-475A-9BF3-91A11DC21553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Results</a:t>
              </a:r>
            </a:p>
            <a:p>
              <a:endParaRPr lang="fr-FR" dirty="0"/>
            </a:p>
          </p:txBody>
        </p:sp>
        <p:sp>
          <p:nvSpPr>
            <p:cNvPr id="48" name="Espace réservé du texte 8">
              <a:extLst>
                <a:ext uri="{FF2B5EF4-FFF2-40B4-BE49-F238E27FC236}">
                  <a16:creationId xmlns:a16="http://schemas.microsoft.com/office/drawing/2014/main" id="{7C13282E-00C9-4A0C-BF2B-DDCB25F7ED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3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1DE6E0EE-425C-4AE5-A930-13AF9A0BC1B7}"/>
              </a:ext>
            </a:extLst>
          </p:cNvPr>
          <p:cNvGrpSpPr/>
          <p:nvPr/>
        </p:nvGrpSpPr>
        <p:grpSpPr>
          <a:xfrm>
            <a:off x="1362032" y="4405703"/>
            <a:ext cx="10514535" cy="442797"/>
            <a:chOff x="596489" y="1834418"/>
            <a:chExt cx="11272384" cy="442797"/>
          </a:xfrm>
        </p:grpSpPr>
        <p:sp>
          <p:nvSpPr>
            <p:cNvPr id="50" name="Espace réservé du texte 2">
              <a:extLst>
                <a:ext uri="{FF2B5EF4-FFF2-40B4-BE49-F238E27FC236}">
                  <a16:creationId xmlns:a16="http://schemas.microsoft.com/office/drawing/2014/main" id="{3DE2B167-7210-438D-9B16-1F5ABE733582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34418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Conclusion</a:t>
              </a:r>
            </a:p>
            <a:p>
              <a:endParaRPr lang="fr-FR" dirty="0"/>
            </a:p>
          </p:txBody>
        </p:sp>
        <p:sp>
          <p:nvSpPr>
            <p:cNvPr id="51" name="Espace réservé du texte 8">
              <a:extLst>
                <a:ext uri="{FF2B5EF4-FFF2-40B4-BE49-F238E27FC236}">
                  <a16:creationId xmlns:a16="http://schemas.microsoft.com/office/drawing/2014/main" id="{30436E7D-C2AC-4A93-A207-860A33BD92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4  |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2410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751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B4134C-9DE4-5140-AB70-CA2B702F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13" y="245280"/>
            <a:ext cx="11659272" cy="652672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fr-FR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11691905" y="584151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8E39DF3-687A-41C8-A0B1-9206CC48BBE9}"/>
              </a:ext>
            </a:extLst>
          </p:cNvPr>
          <p:cNvGrpSpPr/>
          <p:nvPr/>
        </p:nvGrpSpPr>
        <p:grpSpPr>
          <a:xfrm>
            <a:off x="1362032" y="1634285"/>
            <a:ext cx="10514535" cy="442797"/>
            <a:chOff x="596489" y="1855684"/>
            <a:chExt cx="11272384" cy="442797"/>
          </a:xfrm>
        </p:grpSpPr>
        <p:sp>
          <p:nvSpPr>
            <p:cNvPr id="20" name="Espace réservé du texte 2">
              <a:extLst>
                <a:ext uri="{FF2B5EF4-FFF2-40B4-BE49-F238E27FC236}">
                  <a16:creationId xmlns:a16="http://schemas.microsoft.com/office/drawing/2014/main" id="{6FD93523-D9D1-49F6-95C5-C069A3292416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2400" b="1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</a:rPr>
                <a:t>Context</a:t>
              </a: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Espace réservé du texte 8">
              <a:extLst>
                <a:ext uri="{FF2B5EF4-FFF2-40B4-BE49-F238E27FC236}">
                  <a16:creationId xmlns:a16="http://schemas.microsoft.com/office/drawing/2014/main" id="{051D5604-3503-4744-BC39-03318BA01345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1  | </a:t>
              </a:r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8AAB2752-181C-4B7C-B378-90BC3E9FCC6A}"/>
              </a:ext>
            </a:extLst>
          </p:cNvPr>
          <p:cNvGrpSpPr/>
          <p:nvPr/>
        </p:nvGrpSpPr>
        <p:grpSpPr>
          <a:xfrm>
            <a:off x="1362032" y="2618345"/>
            <a:ext cx="10514535" cy="442797"/>
            <a:chOff x="596489" y="1908849"/>
            <a:chExt cx="11272384" cy="442797"/>
          </a:xfrm>
        </p:grpSpPr>
        <p:sp>
          <p:nvSpPr>
            <p:cNvPr id="44" name="Espace réservé du texte 2">
              <a:extLst>
                <a:ext uri="{FF2B5EF4-FFF2-40B4-BE49-F238E27FC236}">
                  <a16:creationId xmlns:a16="http://schemas.microsoft.com/office/drawing/2014/main" id="{FE99FF26-5593-407E-9D8C-6837E46783AA}"/>
                </a:ext>
              </a:extLst>
            </p:cNvPr>
            <p:cNvSpPr txBox="1">
              <a:spLocks/>
            </p:cNvSpPr>
            <p:nvPr/>
          </p:nvSpPr>
          <p:spPr>
            <a:xfrm>
              <a:off x="2130664" y="1908849"/>
              <a:ext cx="9738209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2400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</a:rPr>
                <a:t>Method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Espace réservé du texte 8">
              <a:extLst>
                <a:ext uri="{FF2B5EF4-FFF2-40B4-BE49-F238E27FC236}">
                  <a16:creationId xmlns:a16="http://schemas.microsoft.com/office/drawing/2014/main" id="{77D47355-E53A-4C29-BF77-1426EDFE8602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75000"/>
                    </a:schemeClr>
                  </a:solidFill>
                  <a:latin typeface="Open sans"/>
                </a:rPr>
                <a:t>2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64A69B7A-570B-4543-A4AF-F45D7209E546}"/>
              </a:ext>
            </a:extLst>
          </p:cNvPr>
          <p:cNvGrpSpPr/>
          <p:nvPr/>
        </p:nvGrpSpPr>
        <p:grpSpPr>
          <a:xfrm>
            <a:off x="1362032" y="3496075"/>
            <a:ext cx="10514535" cy="442797"/>
            <a:chOff x="596489" y="1855684"/>
            <a:chExt cx="11272384" cy="442797"/>
          </a:xfrm>
        </p:grpSpPr>
        <p:sp>
          <p:nvSpPr>
            <p:cNvPr id="47" name="Espace réservé du texte 2">
              <a:extLst>
                <a:ext uri="{FF2B5EF4-FFF2-40B4-BE49-F238E27FC236}">
                  <a16:creationId xmlns:a16="http://schemas.microsoft.com/office/drawing/2014/main" id="{E7575B5F-69CD-475A-9BF3-91A11DC21553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Results</a:t>
              </a:r>
            </a:p>
            <a:p>
              <a:endParaRPr lang="fr-FR" dirty="0"/>
            </a:p>
          </p:txBody>
        </p:sp>
        <p:sp>
          <p:nvSpPr>
            <p:cNvPr id="48" name="Espace réservé du texte 8">
              <a:extLst>
                <a:ext uri="{FF2B5EF4-FFF2-40B4-BE49-F238E27FC236}">
                  <a16:creationId xmlns:a16="http://schemas.microsoft.com/office/drawing/2014/main" id="{7C13282E-00C9-4A0C-BF2B-DDCB25F7ED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75000"/>
                    </a:schemeClr>
                  </a:solidFill>
                  <a:latin typeface="Open sans"/>
                </a:rPr>
                <a:t>3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1DE6E0EE-425C-4AE5-A930-13AF9A0BC1B7}"/>
              </a:ext>
            </a:extLst>
          </p:cNvPr>
          <p:cNvGrpSpPr/>
          <p:nvPr/>
        </p:nvGrpSpPr>
        <p:grpSpPr>
          <a:xfrm>
            <a:off x="1362032" y="4405703"/>
            <a:ext cx="10514535" cy="442797"/>
            <a:chOff x="596489" y="1834418"/>
            <a:chExt cx="11272384" cy="442797"/>
          </a:xfrm>
        </p:grpSpPr>
        <p:sp>
          <p:nvSpPr>
            <p:cNvPr id="50" name="Espace réservé du texte 2">
              <a:extLst>
                <a:ext uri="{FF2B5EF4-FFF2-40B4-BE49-F238E27FC236}">
                  <a16:creationId xmlns:a16="http://schemas.microsoft.com/office/drawing/2014/main" id="{3DE2B167-7210-438D-9B16-1F5ABE733582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34418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/>
                <a:t>Conclusion</a:t>
              </a:r>
            </a:p>
            <a:p>
              <a:endParaRPr lang="fr-FR" dirty="0"/>
            </a:p>
          </p:txBody>
        </p:sp>
        <p:sp>
          <p:nvSpPr>
            <p:cNvPr id="51" name="Espace réservé du texte 8">
              <a:extLst>
                <a:ext uri="{FF2B5EF4-FFF2-40B4-BE49-F238E27FC236}">
                  <a16:creationId xmlns:a16="http://schemas.microsoft.com/office/drawing/2014/main" id="{30436E7D-C2AC-4A93-A207-860A33BD92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4  |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28811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3" name="Espace réservé du contenu 2">
            <a:extLst>
              <a:ext uri="{FF2B5EF4-FFF2-40B4-BE49-F238E27FC236}">
                <a16:creationId xmlns:a16="http://schemas.microsoft.com/office/drawing/2014/main" id="{387BF679-95E3-B048-A68A-5586A3D67BB6}"/>
              </a:ext>
            </a:extLst>
          </p:cNvPr>
          <p:cNvSpPr txBox="1">
            <a:spLocks/>
          </p:cNvSpPr>
          <p:nvPr/>
        </p:nvSpPr>
        <p:spPr>
          <a:xfrm>
            <a:off x="-6855783" y="3956445"/>
            <a:ext cx="11622186" cy="23694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me 2">
            <a:extLst>
              <a:ext uri="{FF2B5EF4-FFF2-40B4-BE49-F238E27FC236}">
                <a16:creationId xmlns:a16="http://schemas.microsoft.com/office/drawing/2014/main" id="{3FC64C9E-157B-594D-926B-91D6EBF302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0948672"/>
              </p:ext>
            </p:extLst>
          </p:nvPr>
        </p:nvGraphicFramePr>
        <p:xfrm>
          <a:off x="4535790" y="1311437"/>
          <a:ext cx="7334117" cy="4599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8" name="Rectangle à coins arrondis 27">
            <a:extLst>
              <a:ext uri="{FF2B5EF4-FFF2-40B4-BE49-F238E27FC236}">
                <a16:creationId xmlns:a16="http://schemas.microsoft.com/office/drawing/2014/main" id="{68EFE107-0A49-9545-97D1-BFD0F6420000}"/>
              </a:ext>
            </a:extLst>
          </p:cNvPr>
          <p:cNvSpPr/>
          <p:nvPr/>
        </p:nvSpPr>
        <p:spPr>
          <a:xfrm>
            <a:off x="499730" y="3322544"/>
            <a:ext cx="3596782" cy="70073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fr-FR" sz="2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s been:</a:t>
            </a:r>
          </a:p>
        </p:txBody>
      </p:sp>
    </p:spTree>
    <p:extLst>
      <p:ext uri="{BB962C8B-B14F-4D97-AF65-F5344CB8AC3E}">
        <p14:creationId xmlns:p14="http://schemas.microsoft.com/office/powerpoint/2010/main" val="39143315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494968" y="1205628"/>
            <a:ext cx="4937124" cy="5372972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fr-FR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 </a:t>
              </a:r>
              <a:r>
                <a:rPr lang="fr-FR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boratory</a:t>
              </a:r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9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1BE69B22-FC73-A24A-A16D-62B015BF2CDF}"/>
              </a:ext>
            </a:extLst>
          </p:cNvPr>
          <p:cNvGrpSpPr/>
          <p:nvPr/>
        </p:nvGrpSpPr>
        <p:grpSpPr>
          <a:xfrm>
            <a:off x="-6855783" y="1183114"/>
            <a:ext cx="18568951" cy="5395485"/>
            <a:chOff x="276813" y="671827"/>
            <a:chExt cx="18272048" cy="141727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6802310-29EE-5249-9B3F-64C2340198F5}"/>
                </a:ext>
              </a:extLst>
            </p:cNvPr>
            <p:cNvSpPr/>
            <p:nvPr/>
          </p:nvSpPr>
          <p:spPr>
            <a:xfrm>
              <a:off x="13697001" y="671827"/>
              <a:ext cx="4851860" cy="141727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fr-FR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fr-FR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sewhere</a:t>
              </a:r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23" name="Espace réservé du contenu 2">
              <a:extLst>
                <a:ext uri="{FF2B5EF4-FFF2-40B4-BE49-F238E27FC236}">
                  <a16:creationId xmlns:a16="http://schemas.microsoft.com/office/drawing/2014/main" id="{387BF679-95E3-B048-A68A-5586A3D67BB6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4" name="Rectangle : coins arrondis 30">
            <a:extLst>
              <a:ext uri="{FF2B5EF4-FFF2-40B4-BE49-F238E27FC236}">
                <a16:creationId xmlns:a16="http://schemas.microsoft.com/office/drawing/2014/main" id="{6CEC4E3B-2EA4-8A48-8603-B905780FAE0B}"/>
              </a:ext>
            </a:extLst>
          </p:cNvPr>
          <p:cNvSpPr/>
          <p:nvPr/>
        </p:nvSpPr>
        <p:spPr>
          <a:xfrm>
            <a:off x="7433934" y="4335734"/>
            <a:ext cx="3627770" cy="199015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 ON OTHER TESTBEDS</a:t>
            </a:r>
          </a:p>
          <a:p>
            <a:pPr algn="ctr"/>
            <a:endPara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eton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</a:t>
            </a:r>
            <a:endParaRPr lang="fr-FR" sz="15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dard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light Center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Arizona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 : coins arrondis 30">
                <a:extLst>
                  <a:ext uri="{FF2B5EF4-FFF2-40B4-BE49-F238E27FC236}">
                    <a16:creationId xmlns:a16="http://schemas.microsoft.com/office/drawing/2014/main" id="{36C3BE30-4746-B44B-B40B-186E07246FCF}"/>
                  </a:ext>
                </a:extLst>
              </p:cNvPr>
              <p:cNvSpPr/>
              <p:nvPr/>
            </p:nvSpPr>
            <p:spPr>
              <a:xfrm>
                <a:off x="7433934" y="1728387"/>
                <a:ext cx="3627770" cy="206207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fr-FR" sz="16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EN-SOURCE DISTRIBUTION</a:t>
                </a:r>
              </a:p>
              <a:p>
                <a:pPr algn="ctr"/>
                <a:endParaRPr lang="fr-FR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fr-FR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aboratory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module « 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tkit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 » GitHub 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sibility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nt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rom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ivate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o public on </a:t>
                </a:r>
                <a:r>
                  <a:rPr lang="fr-FR" sz="15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ptember</a:t>
                </a:r>
                <a:r>
                  <a:rPr lang="fr-FR" sz="15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FR" sz="15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FR" sz="15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e>
                      <m:sup>
                        <m:r>
                          <a:rPr lang="fr-FR" sz="15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h</m:t>
                        </m:r>
                      </m:sup>
                    </m:sSup>
                  </m:oMath>
                </a14:m>
                <a:endParaRPr lang="fr-F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fr-FR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fr-FR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endParaRPr lang="fr-FR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5" name="Rectangle : coins arrondis 30">
                <a:extLst>
                  <a:ext uri="{FF2B5EF4-FFF2-40B4-BE49-F238E27FC236}">
                    <a16:creationId xmlns:a16="http://schemas.microsoft.com/office/drawing/2014/main" id="{36C3BE30-4746-B44B-B40B-186E07246F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33934" y="1728387"/>
                <a:ext cx="3627770" cy="2062075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Rectangle : coins arrondis 30">
            <a:extLst>
              <a:ext uri="{FF2B5EF4-FFF2-40B4-BE49-F238E27FC236}">
                <a16:creationId xmlns:a16="http://schemas.microsoft.com/office/drawing/2014/main" id="{AF3F7610-ED12-CD40-AAFC-368159725B40}"/>
              </a:ext>
            </a:extLst>
          </p:cNvPr>
          <p:cNvSpPr/>
          <p:nvPr/>
        </p:nvSpPr>
        <p:spPr>
          <a:xfrm>
            <a:off x="1235609" y="4335734"/>
            <a:ext cx="3627770" cy="199015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CLE IN PREPARATION</a:t>
            </a:r>
          </a:p>
          <a:p>
            <a:pPr algn="ctr"/>
            <a:endParaRPr lang="fr-F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llaboration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fornia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ta Cruz</a:t>
            </a:r>
          </a:p>
        </p:txBody>
      </p:sp>
      <p:sp>
        <p:nvSpPr>
          <p:cNvPr id="27" name="Rectangle : coins arrondis 30">
            <a:extLst>
              <a:ext uri="{FF2B5EF4-FFF2-40B4-BE49-F238E27FC236}">
                <a16:creationId xmlns:a16="http://schemas.microsoft.com/office/drawing/2014/main" id="{3552D1BA-8BC8-5245-98AB-31DBD9FC4AFA}"/>
              </a:ext>
            </a:extLst>
          </p:cNvPr>
          <p:cNvSpPr/>
          <p:nvPr/>
        </p:nvSpPr>
        <p:spPr>
          <a:xfrm>
            <a:off x="1235609" y="1728387"/>
            <a:ext cx="3627770" cy="206207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ED ON THE TESTBED</a:t>
            </a:r>
          </a:p>
          <a:p>
            <a:pPr algn="ctr"/>
            <a:endParaRPr lang="fr-F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e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unning on the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atory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bed</a:t>
            </a:r>
            <a:r>
              <a:rPr lang="fr-FR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5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fr-FR" sz="15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5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</a:t>
            </a:r>
            <a:r>
              <a:rPr lang="fr-FR" sz="15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sz="15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imate</a:t>
            </a:r>
            <a:r>
              <a:rPr lang="fr-FR" sz="15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oal of the </a:t>
            </a:r>
            <a:r>
              <a:rPr lang="fr-FR" sz="15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ship</a:t>
            </a:r>
            <a:endParaRPr lang="fr-FR" sz="15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1787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753DCB0-EBCC-41A1-930A-52C3B580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838200" y="32455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4519266" y="3830590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3" name="Titre 12">
            <a:extLst>
              <a:ext uri="{FF2B5EF4-FFF2-40B4-BE49-F238E27FC236}">
                <a16:creationId xmlns:a16="http://schemas.microsoft.com/office/drawing/2014/main" id="{55E15528-A63C-6D40-A80B-641DBAAE9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E1845AD-EB1B-0B49-BAE7-839A3ACEB32B}"/>
              </a:ext>
            </a:extLst>
          </p:cNvPr>
          <p:cNvSpPr txBox="1"/>
          <p:nvPr/>
        </p:nvSpPr>
        <p:spPr>
          <a:xfrm>
            <a:off x="1061116" y="3298286"/>
            <a:ext cx="364715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fr-FR" sz="5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54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endParaRPr lang="fr-FR" sz="5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421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D303E3-BFE6-BC4C-83CD-61701CDBD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7625BFC-2A5F-624E-8908-6F5B23580B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00483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8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idation –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Practice (1)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ussion on Training Set</a:t>
              </a:r>
              <a:endParaRPr lang="fr-FR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Image 11">
            <a:extLst>
              <a:ext uri="{FF2B5EF4-FFF2-40B4-BE49-F238E27FC236}">
                <a16:creationId xmlns:a16="http://schemas.microsoft.com/office/drawing/2014/main" id="{53A43C69-6D9B-8845-A132-87F457B87F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8029" y="2012359"/>
            <a:ext cx="4470400" cy="47498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97D30496-57E2-934C-BCD4-A9B7B4FD76C7}"/>
              </a:ext>
            </a:extLst>
          </p:cNvPr>
          <p:cNvSpPr txBox="1"/>
          <p:nvPr/>
        </p:nvSpPr>
        <p:spPr>
          <a:xfrm>
            <a:off x="10561624" y="4202593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e-3, 80/5 (</a:t>
            </a:r>
            <a:r>
              <a:rPr lang="fr-FR" dirty="0" err="1"/>
              <a:t>l,n</a:t>
            </a:r>
            <a:r>
              <a:rPr lang="fr-FR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325603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1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idation –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Practice (2)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ussion on </a:t>
              </a:r>
              <a:r>
                <a:rPr lang="fr-FR" dirty="0" err="1">
                  <a:solidFill>
                    <a:schemeClr val="bg2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ularization</a:t>
              </a:r>
              <a:endParaRPr lang="fr-FR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e 2">
            <a:extLst>
              <a:ext uri="{FF2B5EF4-FFF2-40B4-BE49-F238E27FC236}">
                <a16:creationId xmlns:a16="http://schemas.microsoft.com/office/drawing/2014/main" id="{3EE496D1-80A6-7047-B26D-0ED2DE40FDD8}"/>
              </a:ext>
            </a:extLst>
          </p:cNvPr>
          <p:cNvGrpSpPr/>
          <p:nvPr/>
        </p:nvGrpSpPr>
        <p:grpSpPr>
          <a:xfrm>
            <a:off x="985209" y="5378866"/>
            <a:ext cx="10224757" cy="987768"/>
            <a:chOff x="983622" y="4408196"/>
            <a:chExt cx="10224757" cy="987768"/>
          </a:xfrm>
        </p:grpSpPr>
        <p:grpSp>
          <p:nvGrpSpPr>
            <p:cNvPr id="2" name="Groupe 1">
              <a:extLst>
                <a:ext uri="{FF2B5EF4-FFF2-40B4-BE49-F238E27FC236}">
                  <a16:creationId xmlns:a16="http://schemas.microsoft.com/office/drawing/2014/main" id="{F2276BDF-33C7-2540-96BE-EA9153AF11BB}"/>
                </a:ext>
              </a:extLst>
            </p:cNvPr>
            <p:cNvGrpSpPr/>
            <p:nvPr/>
          </p:nvGrpSpPr>
          <p:grpSpPr>
            <a:xfrm>
              <a:off x="1475477" y="4408196"/>
              <a:ext cx="9732902" cy="987768"/>
              <a:chOff x="1475477" y="4408196"/>
              <a:chExt cx="9732902" cy="987768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6FD21D5-A333-CB40-910C-831AB550B8DC}"/>
                  </a:ext>
                </a:extLst>
              </p:cNvPr>
              <p:cNvSpPr/>
              <p:nvPr/>
            </p:nvSpPr>
            <p:spPr>
              <a:xfrm>
                <a:off x="1475477" y="4408196"/>
                <a:ext cx="9732902" cy="98776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2"/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ed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o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compute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lter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requently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for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w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     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d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ight 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alue for the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rameters</a:t>
                </a:r>
                <a:endPara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966DA379-CD79-7B4F-AD40-22FF7A8FBC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77575" y="4937759"/>
                <a:ext cx="450166" cy="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6B4EE4A2-A5C3-9A45-8F6B-1FDF5625B156}"/>
                </a:ext>
              </a:extLst>
            </p:cNvPr>
            <p:cNvSpPr/>
            <p:nvPr/>
          </p:nvSpPr>
          <p:spPr>
            <a:xfrm>
              <a:off x="983622" y="4408196"/>
              <a:ext cx="983710" cy="987768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1" name="Graphique 20" descr="Crayon">
              <a:extLst>
                <a:ext uri="{FF2B5EF4-FFF2-40B4-BE49-F238E27FC236}">
                  <a16:creationId xmlns:a16="http://schemas.microsoft.com/office/drawing/2014/main" id="{9548BF90-0197-B440-B49C-265547DD5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80424" y="4607027"/>
              <a:ext cx="590105" cy="5901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08683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2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ENDIX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CED65DC5-C7E9-485C-BBE6-0309999129F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Diagramme 10">
            <a:extLst>
              <a:ext uri="{FF2B5EF4-FFF2-40B4-BE49-F238E27FC236}">
                <a16:creationId xmlns:a16="http://schemas.microsoft.com/office/drawing/2014/main" id="{0FCCA915-B570-F145-87A6-F4BB855878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7902956"/>
              </p:ext>
            </p:extLst>
          </p:nvPr>
        </p:nvGraphicFramePr>
        <p:xfrm>
          <a:off x="697197" y="1465389"/>
          <a:ext cx="10449395" cy="5815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E260254C-1279-8F41-AFD5-7AF15A726471}"/>
              </a:ext>
            </a:extLst>
          </p:cNvPr>
          <p:cNvSpPr/>
          <p:nvPr/>
        </p:nvSpPr>
        <p:spPr>
          <a:xfrm>
            <a:off x="992249" y="1027905"/>
            <a:ext cx="10154343" cy="8749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2"/>
            <a:r>
              <a:rPr lang="fr-FR" sz="2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</a:t>
            </a:r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uture </a:t>
            </a:r>
            <a:r>
              <a:rPr lang="fr-FR" sz="2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r>
              <a:rPr lang="fr-F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cus on?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6194A43F-7B51-5447-B38C-1257EC0B8E1E}"/>
              </a:ext>
            </a:extLst>
          </p:cNvPr>
          <p:cNvSpPr/>
          <p:nvPr/>
        </p:nvSpPr>
        <p:spPr>
          <a:xfrm>
            <a:off x="500395" y="1027905"/>
            <a:ext cx="1012650" cy="98776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 descr="Loupe">
            <a:extLst>
              <a:ext uri="{FF2B5EF4-FFF2-40B4-BE49-F238E27FC236}">
                <a16:creationId xmlns:a16="http://schemas.microsoft.com/office/drawing/2014/main" id="{1DD58E98-2D7C-0849-A1FD-491F5F63C3B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7196" y="1241229"/>
            <a:ext cx="590105" cy="59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661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753DCB0-EBCC-41A1-930A-52C3B580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B4134C-9DE4-5140-AB70-CA2B702F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13" y="245280"/>
            <a:ext cx="11659272" cy="652672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fr-FR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11691905" y="584151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8E39DF3-687A-41C8-A0B1-9206CC48BBE9}"/>
              </a:ext>
            </a:extLst>
          </p:cNvPr>
          <p:cNvGrpSpPr/>
          <p:nvPr/>
        </p:nvGrpSpPr>
        <p:grpSpPr>
          <a:xfrm>
            <a:off x="1362032" y="1634285"/>
            <a:ext cx="10514535" cy="442797"/>
            <a:chOff x="596489" y="1855684"/>
            <a:chExt cx="11272384" cy="442797"/>
          </a:xfrm>
        </p:grpSpPr>
        <p:sp>
          <p:nvSpPr>
            <p:cNvPr id="20" name="Espace réservé du texte 2">
              <a:extLst>
                <a:ext uri="{FF2B5EF4-FFF2-40B4-BE49-F238E27FC236}">
                  <a16:creationId xmlns:a16="http://schemas.microsoft.com/office/drawing/2014/main" id="{6FD93523-D9D1-49F6-95C5-C069A3292416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2400" b="1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</a:rPr>
                <a:t>Context</a:t>
              </a: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Espace réservé du texte 8">
              <a:extLst>
                <a:ext uri="{FF2B5EF4-FFF2-40B4-BE49-F238E27FC236}">
                  <a16:creationId xmlns:a16="http://schemas.microsoft.com/office/drawing/2014/main" id="{051D5604-3503-4744-BC39-03318BA01345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1  | </a:t>
              </a:r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8AAB2752-181C-4B7C-B378-90BC3E9FCC6A}"/>
              </a:ext>
            </a:extLst>
          </p:cNvPr>
          <p:cNvGrpSpPr/>
          <p:nvPr/>
        </p:nvGrpSpPr>
        <p:grpSpPr>
          <a:xfrm>
            <a:off x="1362032" y="2618345"/>
            <a:ext cx="10514535" cy="442797"/>
            <a:chOff x="596489" y="1908849"/>
            <a:chExt cx="11272384" cy="442797"/>
          </a:xfrm>
        </p:grpSpPr>
        <p:sp>
          <p:nvSpPr>
            <p:cNvPr id="44" name="Espace réservé du texte 2">
              <a:extLst>
                <a:ext uri="{FF2B5EF4-FFF2-40B4-BE49-F238E27FC236}">
                  <a16:creationId xmlns:a16="http://schemas.microsoft.com/office/drawing/2014/main" id="{FE99FF26-5593-407E-9D8C-6837E46783AA}"/>
                </a:ext>
              </a:extLst>
            </p:cNvPr>
            <p:cNvSpPr txBox="1">
              <a:spLocks/>
            </p:cNvSpPr>
            <p:nvPr/>
          </p:nvSpPr>
          <p:spPr>
            <a:xfrm>
              <a:off x="2130664" y="1908849"/>
              <a:ext cx="9738209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2400" i="0" u="none" strike="noStrike" kern="1200" cap="none" spc="30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</a:rPr>
                <a:t>Method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Espace réservé du texte 8">
              <a:extLst>
                <a:ext uri="{FF2B5EF4-FFF2-40B4-BE49-F238E27FC236}">
                  <a16:creationId xmlns:a16="http://schemas.microsoft.com/office/drawing/2014/main" id="{77D47355-E53A-4C29-BF77-1426EDFE8602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2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64A69B7A-570B-4543-A4AF-F45D7209E546}"/>
              </a:ext>
            </a:extLst>
          </p:cNvPr>
          <p:cNvGrpSpPr/>
          <p:nvPr/>
        </p:nvGrpSpPr>
        <p:grpSpPr>
          <a:xfrm>
            <a:off x="1362032" y="3496075"/>
            <a:ext cx="10514535" cy="442797"/>
            <a:chOff x="596489" y="1855684"/>
            <a:chExt cx="11272384" cy="442797"/>
          </a:xfrm>
        </p:grpSpPr>
        <p:sp>
          <p:nvSpPr>
            <p:cNvPr id="47" name="Espace réservé du texte 2">
              <a:extLst>
                <a:ext uri="{FF2B5EF4-FFF2-40B4-BE49-F238E27FC236}">
                  <a16:creationId xmlns:a16="http://schemas.microsoft.com/office/drawing/2014/main" id="{E7575B5F-69CD-475A-9BF3-91A11DC21553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Results</a:t>
              </a:r>
            </a:p>
            <a:p>
              <a:endParaRPr lang="fr-FR" dirty="0"/>
            </a:p>
          </p:txBody>
        </p:sp>
        <p:sp>
          <p:nvSpPr>
            <p:cNvPr id="48" name="Espace réservé du texte 8">
              <a:extLst>
                <a:ext uri="{FF2B5EF4-FFF2-40B4-BE49-F238E27FC236}">
                  <a16:creationId xmlns:a16="http://schemas.microsoft.com/office/drawing/2014/main" id="{7C13282E-00C9-4A0C-BF2B-DDCB25F7ED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3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1DE6E0EE-425C-4AE5-A930-13AF9A0BC1B7}"/>
              </a:ext>
            </a:extLst>
          </p:cNvPr>
          <p:cNvGrpSpPr/>
          <p:nvPr/>
        </p:nvGrpSpPr>
        <p:grpSpPr>
          <a:xfrm>
            <a:off x="1362032" y="4405703"/>
            <a:ext cx="10514535" cy="442797"/>
            <a:chOff x="596489" y="1834418"/>
            <a:chExt cx="11272384" cy="442797"/>
          </a:xfrm>
        </p:grpSpPr>
        <p:sp>
          <p:nvSpPr>
            <p:cNvPr id="50" name="Espace réservé du texte 2">
              <a:extLst>
                <a:ext uri="{FF2B5EF4-FFF2-40B4-BE49-F238E27FC236}">
                  <a16:creationId xmlns:a16="http://schemas.microsoft.com/office/drawing/2014/main" id="{3DE2B167-7210-438D-9B16-1F5ABE733582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34418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Conclusion</a:t>
              </a:r>
            </a:p>
            <a:p>
              <a:endParaRPr lang="fr-FR" dirty="0"/>
            </a:p>
          </p:txBody>
        </p:sp>
        <p:sp>
          <p:nvSpPr>
            <p:cNvPr id="51" name="Espace réservé du texte 8">
              <a:extLst>
                <a:ext uri="{FF2B5EF4-FFF2-40B4-BE49-F238E27FC236}">
                  <a16:creationId xmlns:a16="http://schemas.microsoft.com/office/drawing/2014/main" id="{30436E7D-C2AC-4A93-A207-860A33BD92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4  |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1941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115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maging of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oplanets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A2337930-FF26-4994-967B-896F95C70041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AA5FAF3-04DE-4B7E-986B-8FF52CD507AD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Espace réservé du contenu 2">
              <a:extLst>
                <a:ext uri="{FF2B5EF4-FFF2-40B4-BE49-F238E27FC236}">
                  <a16:creationId xmlns:a16="http://schemas.microsoft.com/office/drawing/2014/main" id="{A5F13BA7-8195-48C2-94C4-E6A266F98645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key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ientific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bjective of future NASA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trophysics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agship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issions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o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d</a:t>
              </a:r>
              <a:r>
                <a:rPr lang="fr-FR" sz="1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ut if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re</a:t>
              </a:r>
              <a:r>
                <a:rPr lang="fr-FR" sz="1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</a:t>
              </a:r>
              <a:r>
                <a:rPr lang="fr-FR" sz="1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ife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sewhere</a:t>
              </a:r>
              <a:r>
                <a:rPr lang="fr-FR" sz="1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ur</a:t>
              </a:r>
              <a:r>
                <a:rPr lang="fr-FR" sz="1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b="1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iverse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ough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o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jor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jects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EE6C1AB9-4057-43E6-9F11-E90A78BB4DAA}"/>
              </a:ext>
            </a:extLst>
          </p:cNvPr>
          <p:cNvGrpSpPr/>
          <p:nvPr/>
        </p:nvGrpSpPr>
        <p:grpSpPr>
          <a:xfrm>
            <a:off x="1395179" y="2027808"/>
            <a:ext cx="9401642" cy="1724099"/>
            <a:chOff x="1080294" y="2197931"/>
            <a:chExt cx="9401642" cy="1724099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EC69FD5D-059D-467E-BBD8-1F1701D18003}"/>
                </a:ext>
              </a:extLst>
            </p:cNvPr>
            <p:cNvGrpSpPr/>
            <p:nvPr/>
          </p:nvGrpSpPr>
          <p:grpSpPr>
            <a:xfrm>
              <a:off x="1080294" y="2215384"/>
              <a:ext cx="4040374" cy="1706646"/>
              <a:chOff x="1282315" y="2215384"/>
              <a:chExt cx="4040374" cy="1706646"/>
            </a:xfrm>
          </p:grpSpPr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4512C2AC-109D-40B4-A1CF-DE9B66B087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262692" y="2215384"/>
                <a:ext cx="2079621" cy="1357700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0018B4CD-FEBA-46FD-8A4B-C14970CDA332}"/>
                  </a:ext>
                </a:extLst>
              </p:cNvPr>
              <p:cNvSpPr txBox="1"/>
              <p:nvPr/>
            </p:nvSpPr>
            <p:spPr>
              <a:xfrm>
                <a:off x="1282315" y="3614253"/>
                <a:ext cx="404037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i="1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bitable Exoplanet </a:t>
                </a:r>
                <a:r>
                  <a:rPr lang="fr-FR" sz="1400" b="1" i="1" dirty="0" err="1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bservatory</a:t>
                </a:r>
                <a:r>
                  <a:rPr lang="fr-FR" sz="1400" b="1" i="1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</a:t>
                </a:r>
                <a:r>
                  <a:rPr lang="fr-FR" sz="1400" b="1" i="1" dirty="0" err="1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bEx</a:t>
                </a:r>
                <a:r>
                  <a:rPr lang="fr-FR" sz="1400" b="1" i="1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p:grp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DC2AD12C-EC51-40E8-839B-5EB4614BC2E4}"/>
                </a:ext>
              </a:extLst>
            </p:cNvPr>
            <p:cNvGrpSpPr/>
            <p:nvPr/>
          </p:nvGrpSpPr>
          <p:grpSpPr>
            <a:xfrm>
              <a:off x="6441562" y="2197931"/>
              <a:ext cx="4040374" cy="1724099"/>
              <a:chOff x="5994991" y="2197931"/>
              <a:chExt cx="4040374" cy="1724099"/>
            </a:xfrm>
          </p:grpSpPr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2B0B3BC0-5400-44F5-B9E9-1A38A2EE06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953179" y="2197931"/>
                <a:ext cx="2123999" cy="1375153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7A433D53-6528-4FA7-BBF9-7C4887377065}"/>
                  </a:ext>
                </a:extLst>
              </p:cNvPr>
              <p:cNvSpPr txBox="1"/>
              <p:nvPr/>
            </p:nvSpPr>
            <p:spPr>
              <a:xfrm>
                <a:off x="5994991" y="3614253"/>
                <a:ext cx="404037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algn="ctr">
                  <a:defRPr sz="1600" b="1" i="1">
                    <a:solidFill>
                      <a:schemeClr val="bg1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fr-F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Large UV/Optical/</a:t>
                </a:r>
                <a:r>
                  <a:rPr lang="fr-FR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frared</a:t>
                </a:r>
                <a:r>
                  <a:rPr lang="fr-F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urveyor</a:t>
                </a:r>
                <a:r>
                  <a:rPr lang="fr-FR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(LUVOIR)</a:t>
                </a:r>
              </a:p>
            </p:txBody>
          </p:sp>
        </p:grpSp>
      </p:grp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54ADF6EA-86C1-4DF0-8C62-BE8146D21939}"/>
              </a:ext>
            </a:extLst>
          </p:cNvPr>
          <p:cNvSpPr/>
          <p:nvPr/>
        </p:nvSpPr>
        <p:spPr>
          <a:xfrm rot="10800000">
            <a:off x="3388241" y="3971423"/>
            <a:ext cx="5418694" cy="32831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contenu 2">
            <a:extLst>
              <a:ext uri="{FF2B5EF4-FFF2-40B4-BE49-F238E27FC236}">
                <a16:creationId xmlns:a16="http://schemas.microsoft.com/office/drawing/2014/main" id="{68FFE2B7-3C56-45D5-9723-4D0F819C347D}"/>
              </a:ext>
            </a:extLst>
          </p:cNvPr>
          <p:cNvSpPr txBox="1">
            <a:spLocks/>
          </p:cNvSpPr>
          <p:nvPr/>
        </p:nvSpPr>
        <p:spPr>
          <a:xfrm>
            <a:off x="5076862" y="4408818"/>
            <a:ext cx="2041451" cy="338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fic goals: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6E06A221-B968-45D4-A07B-2B0AD14F836B}"/>
              </a:ext>
            </a:extLst>
          </p:cNvPr>
          <p:cNvSpPr/>
          <p:nvPr/>
        </p:nvSpPr>
        <p:spPr>
          <a:xfrm>
            <a:off x="499729" y="4865325"/>
            <a:ext cx="3359889" cy="16359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 FOR EARTH-LIKE PLANETS</a:t>
            </a: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estrial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t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mosphere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algn="ctr"/>
            <a:endParaRPr lang="fr-FR" sz="2000" b="1" dirty="0"/>
          </a:p>
        </p:txBody>
      </p:sp>
      <p:sp>
        <p:nvSpPr>
          <p:cNvPr id="34" name="Rectangle : coins arrondis 33">
            <a:extLst>
              <a:ext uri="{FF2B5EF4-FFF2-40B4-BE49-F238E27FC236}">
                <a16:creationId xmlns:a16="http://schemas.microsoft.com/office/drawing/2014/main" id="{48CD95D3-2B91-4250-B01E-3EFF5D58CFBA}"/>
              </a:ext>
            </a:extLst>
          </p:cNvPr>
          <p:cNvSpPr/>
          <p:nvPr/>
        </p:nvSpPr>
        <p:spPr>
          <a:xfrm>
            <a:off x="4426504" y="4865325"/>
            <a:ext cx="3359889" cy="16359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 FOR LIFE</a:t>
            </a: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terrestrial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fe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35" name="Rectangle : coins arrondis 34">
            <a:extLst>
              <a:ext uri="{FF2B5EF4-FFF2-40B4-BE49-F238E27FC236}">
                <a16:creationId xmlns:a16="http://schemas.microsoft.com/office/drawing/2014/main" id="{CE62FC70-825B-42AD-8F8F-640866760B7F}"/>
              </a:ext>
            </a:extLst>
          </p:cNvPr>
          <p:cNvSpPr/>
          <p:nvPr/>
        </p:nvSpPr>
        <p:spPr>
          <a:xfrm>
            <a:off x="8353279" y="4856449"/>
            <a:ext cx="3359889" cy="16359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 FOR SOLAR SYSTEM ROLE IN THE UNIVERSE</a:t>
            </a:r>
          </a:p>
          <a:p>
            <a:pPr algn="ctr"/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es it have of typical or atypical?</a:t>
            </a:r>
          </a:p>
        </p:txBody>
      </p:sp>
    </p:spTree>
    <p:extLst>
      <p:ext uri="{BB962C8B-B14F-4D97-AF65-F5344CB8AC3E}">
        <p14:creationId xmlns:p14="http://schemas.microsoft.com/office/powerpoint/2010/main" val="99926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9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nventing</a:t>
            </a: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Optical System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" name="Groupe 1">
            <a:extLst>
              <a:ext uri="{FF2B5EF4-FFF2-40B4-BE49-F238E27FC236}">
                <a16:creationId xmlns:a16="http://schemas.microsoft.com/office/drawing/2014/main" id="{572D754F-18AB-4DD7-9308-8C1747A63D0F}"/>
              </a:ext>
            </a:extLst>
          </p:cNvPr>
          <p:cNvGrpSpPr/>
          <p:nvPr/>
        </p:nvGrpSpPr>
        <p:grpSpPr>
          <a:xfrm>
            <a:off x="653579" y="2965847"/>
            <a:ext cx="5768417" cy="766134"/>
            <a:chOff x="1655644" y="3026972"/>
            <a:chExt cx="5768417" cy="766134"/>
          </a:xfrm>
        </p:grpSpPr>
        <p:sp>
          <p:nvSpPr>
            <p:cNvPr id="31" name="Rectangle : coins arrondis 30">
              <a:extLst>
                <a:ext uri="{FF2B5EF4-FFF2-40B4-BE49-F238E27FC236}">
                  <a16:creationId xmlns:a16="http://schemas.microsoft.com/office/drawing/2014/main" id="{6E06A221-B968-45D4-A07B-2B0AD14F836B}"/>
                </a:ext>
              </a:extLst>
            </p:cNvPr>
            <p:cNvSpPr/>
            <p:nvPr/>
          </p:nvSpPr>
          <p:spPr>
            <a:xfrm>
              <a:off x="5084395" y="3026972"/>
              <a:ext cx="2339666" cy="766134"/>
            </a:xfrm>
            <a:prstGeom prst="roundRect">
              <a:avLst>
                <a:gd name="adj" fmla="val 17525"/>
              </a:avLst>
            </a:prstGeom>
            <a:solidFill>
              <a:srgbClr val="FFE1E1"/>
            </a:solidFill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VEFRONT SENSING AND CONTROL (WFS&amp;C) ALGORITHMS </a:t>
              </a:r>
            </a:p>
          </p:txBody>
        </p:sp>
        <p:grpSp>
          <p:nvGrpSpPr>
            <p:cNvPr id="49" name="Groupe 48">
              <a:extLst>
                <a:ext uri="{FF2B5EF4-FFF2-40B4-BE49-F238E27FC236}">
                  <a16:creationId xmlns:a16="http://schemas.microsoft.com/office/drawing/2014/main" id="{66A2FC7E-471C-4E32-A107-0A8C8CF3ED7F}"/>
                </a:ext>
              </a:extLst>
            </p:cNvPr>
            <p:cNvGrpSpPr/>
            <p:nvPr/>
          </p:nvGrpSpPr>
          <p:grpSpPr>
            <a:xfrm>
              <a:off x="4163400" y="3169413"/>
              <a:ext cx="741767" cy="481253"/>
              <a:chOff x="5725116" y="3948904"/>
              <a:chExt cx="741767" cy="481253"/>
            </a:xfrm>
          </p:grpSpPr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F8DF6CEC-4561-45BD-960A-293B35ACED12}"/>
                  </a:ext>
                </a:extLst>
              </p:cNvPr>
              <p:cNvGrpSpPr/>
              <p:nvPr/>
            </p:nvGrpSpPr>
            <p:grpSpPr>
              <a:xfrm>
                <a:off x="5725116" y="3948904"/>
                <a:ext cx="741766" cy="180754"/>
                <a:chOff x="5624623" y="3604437"/>
                <a:chExt cx="741766" cy="180754"/>
              </a:xfrm>
            </p:grpSpPr>
            <p:sp>
              <p:nvSpPr>
                <p:cNvPr id="3" name="Flèche : chevron 2">
                  <a:extLst>
                    <a:ext uri="{FF2B5EF4-FFF2-40B4-BE49-F238E27FC236}">
                      <a16:creationId xmlns:a16="http://schemas.microsoft.com/office/drawing/2014/main" id="{35F55009-B3DD-4FE0-98BF-B8FC45366135}"/>
                    </a:ext>
                  </a:extLst>
                </p:cNvPr>
                <p:cNvSpPr/>
                <p:nvPr/>
              </p:nvSpPr>
              <p:spPr>
                <a:xfrm>
                  <a:off x="5624623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Flèche : chevron 32">
                  <a:extLst>
                    <a:ext uri="{FF2B5EF4-FFF2-40B4-BE49-F238E27FC236}">
                      <a16:creationId xmlns:a16="http://schemas.microsoft.com/office/drawing/2014/main" id="{51620CCE-C366-4E83-87FB-2CEE54C66656}"/>
                    </a:ext>
                  </a:extLst>
                </p:cNvPr>
                <p:cNvSpPr/>
                <p:nvPr/>
              </p:nvSpPr>
              <p:spPr>
                <a:xfrm>
                  <a:off x="5867454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" name="Flèche : chevron 35">
                  <a:extLst>
                    <a:ext uri="{FF2B5EF4-FFF2-40B4-BE49-F238E27FC236}">
                      <a16:creationId xmlns:a16="http://schemas.microsoft.com/office/drawing/2014/main" id="{A2666403-1ED1-4B77-9BB2-CE1283F366DC}"/>
                    </a:ext>
                  </a:extLst>
                </p:cNvPr>
                <p:cNvSpPr/>
                <p:nvPr/>
              </p:nvSpPr>
              <p:spPr>
                <a:xfrm>
                  <a:off x="6110285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7" name="Groupe 36">
                <a:extLst>
                  <a:ext uri="{FF2B5EF4-FFF2-40B4-BE49-F238E27FC236}">
                    <a16:creationId xmlns:a16="http://schemas.microsoft.com/office/drawing/2014/main" id="{DAE658A3-8A62-4138-9CE3-D7EBC0B2E9BF}"/>
                  </a:ext>
                </a:extLst>
              </p:cNvPr>
              <p:cNvGrpSpPr/>
              <p:nvPr/>
            </p:nvGrpSpPr>
            <p:grpSpPr>
              <a:xfrm rot="10800000">
                <a:off x="5725117" y="4249403"/>
                <a:ext cx="741766" cy="180754"/>
                <a:chOff x="5624623" y="3604437"/>
                <a:chExt cx="741766" cy="180754"/>
              </a:xfrm>
            </p:grpSpPr>
            <p:sp>
              <p:nvSpPr>
                <p:cNvPr id="38" name="Flèche : chevron 37">
                  <a:extLst>
                    <a:ext uri="{FF2B5EF4-FFF2-40B4-BE49-F238E27FC236}">
                      <a16:creationId xmlns:a16="http://schemas.microsoft.com/office/drawing/2014/main" id="{3788AEF6-838C-44B1-B3ED-B30750EBB6AE}"/>
                    </a:ext>
                  </a:extLst>
                </p:cNvPr>
                <p:cNvSpPr/>
                <p:nvPr/>
              </p:nvSpPr>
              <p:spPr>
                <a:xfrm>
                  <a:off x="5624623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Flèche : chevron 38">
                  <a:extLst>
                    <a:ext uri="{FF2B5EF4-FFF2-40B4-BE49-F238E27FC236}">
                      <a16:creationId xmlns:a16="http://schemas.microsoft.com/office/drawing/2014/main" id="{0AEAF446-4F16-428E-96C4-B29DBB2740D8}"/>
                    </a:ext>
                  </a:extLst>
                </p:cNvPr>
                <p:cNvSpPr/>
                <p:nvPr/>
              </p:nvSpPr>
              <p:spPr>
                <a:xfrm>
                  <a:off x="5867454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" name="Flèche : chevron 39">
                  <a:extLst>
                    <a:ext uri="{FF2B5EF4-FFF2-40B4-BE49-F238E27FC236}">
                      <a16:creationId xmlns:a16="http://schemas.microsoft.com/office/drawing/2014/main" id="{57BF5625-BBA5-4677-AC84-5B3943C4EACC}"/>
                    </a:ext>
                  </a:extLst>
                </p:cNvPr>
                <p:cNvSpPr/>
                <p:nvPr/>
              </p:nvSpPr>
              <p:spPr>
                <a:xfrm>
                  <a:off x="6110285" y="3604437"/>
                  <a:ext cx="256104" cy="180754"/>
                </a:xfrm>
                <a:prstGeom prst="chevron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41" name="Rectangle : coins arrondis 40">
              <a:extLst>
                <a:ext uri="{FF2B5EF4-FFF2-40B4-BE49-F238E27FC236}">
                  <a16:creationId xmlns:a16="http://schemas.microsoft.com/office/drawing/2014/main" id="{453ED56B-BBAD-4BDC-B438-71333E67EACB}"/>
                </a:ext>
              </a:extLst>
            </p:cNvPr>
            <p:cNvSpPr/>
            <p:nvPr/>
          </p:nvSpPr>
          <p:spPr>
            <a:xfrm>
              <a:off x="1655644" y="3026972"/>
              <a:ext cx="2328527" cy="766134"/>
            </a:xfrm>
            <a:prstGeom prst="roundRect">
              <a:avLst>
                <a:gd name="adj" fmla="val 13262"/>
              </a:avLst>
            </a:prstGeom>
            <a:solidFill>
              <a:srgbClr val="E2E9F6"/>
            </a:solidFill>
            <a:ln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CAL INSTRUMENTS</a:t>
              </a: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20361EA0-8E7E-42D1-B976-10133A0C7E86}"/>
              </a:ext>
            </a:extLst>
          </p:cNvPr>
          <p:cNvSpPr/>
          <p:nvPr/>
        </p:nvSpPr>
        <p:spPr>
          <a:xfrm>
            <a:off x="879272" y="6021409"/>
            <a:ext cx="10433455" cy="45367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ve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ver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en sent to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t</a:t>
            </a:r>
            <a:endParaRPr lang="fr-FR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Graphique 44" descr="Commentaire important">
            <a:extLst>
              <a:ext uri="{FF2B5EF4-FFF2-40B4-BE49-F238E27FC236}">
                <a16:creationId xmlns:a16="http://schemas.microsoft.com/office/drawing/2014/main" id="{B083EEB5-65AA-4BF2-88C2-EF60F2B865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9272" y="6108495"/>
            <a:ext cx="361699" cy="361699"/>
          </a:xfrm>
          <a:prstGeom prst="rect">
            <a:avLst/>
          </a:prstGeom>
        </p:spPr>
      </p:pic>
      <p:grpSp>
        <p:nvGrpSpPr>
          <p:cNvPr id="52" name="Groupe 51">
            <a:extLst>
              <a:ext uri="{FF2B5EF4-FFF2-40B4-BE49-F238E27FC236}">
                <a16:creationId xmlns:a16="http://schemas.microsoft.com/office/drawing/2014/main" id="{D95ABCF0-627C-4507-85B1-2B799DAC3E5B}"/>
              </a:ext>
            </a:extLst>
          </p:cNvPr>
          <p:cNvGrpSpPr/>
          <p:nvPr/>
        </p:nvGrpSpPr>
        <p:grpSpPr>
          <a:xfrm>
            <a:off x="499732" y="1204612"/>
            <a:ext cx="6076114" cy="1442526"/>
            <a:chOff x="3822817" y="1233707"/>
            <a:chExt cx="5779354" cy="1686627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57E60E2-9CA1-4C73-A6F1-CB998B1007E5}"/>
                </a:ext>
              </a:extLst>
            </p:cNvPr>
            <p:cNvSpPr/>
            <p:nvPr/>
          </p:nvSpPr>
          <p:spPr>
            <a:xfrm>
              <a:off x="3822817" y="1233707"/>
              <a:ext cx="5779354" cy="1686627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have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w</a:t>
              </a:r>
              <a:endPara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7" name="Espace réservé du contenu 7">
              <a:extLst>
                <a:ext uri="{FF2B5EF4-FFF2-40B4-BE49-F238E27FC236}">
                  <a16:creationId xmlns:a16="http://schemas.microsoft.com/office/drawing/2014/main" id="{C61C0B16-D9EA-4139-9FB8-51B0E0211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70853" y="1475201"/>
              <a:ext cx="1933796" cy="1203638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6" name="Groupe 55">
            <a:extLst>
              <a:ext uri="{FF2B5EF4-FFF2-40B4-BE49-F238E27FC236}">
                <a16:creationId xmlns:a16="http://schemas.microsoft.com/office/drawing/2014/main" id="{66286678-2026-49D4-A42E-87A1C5601FF2}"/>
              </a:ext>
            </a:extLst>
          </p:cNvPr>
          <p:cNvGrpSpPr/>
          <p:nvPr/>
        </p:nvGrpSpPr>
        <p:grpSpPr>
          <a:xfrm>
            <a:off x="499730" y="4050691"/>
            <a:ext cx="6076116" cy="1474082"/>
            <a:chOff x="3822816" y="4262254"/>
            <a:chExt cx="5779355" cy="1686627"/>
          </a:xfrm>
        </p:grpSpPr>
        <p:pic>
          <p:nvPicPr>
            <p:cNvPr id="48" name="Espace réservé du contenu 9">
              <a:extLst>
                <a:ext uri="{FF2B5EF4-FFF2-40B4-BE49-F238E27FC236}">
                  <a16:creationId xmlns:a16="http://schemas.microsoft.com/office/drawing/2014/main" id="{E763E0F2-E0AE-44B1-8604-78AAB25B2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596168" y="4503749"/>
              <a:ext cx="1933796" cy="1203638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FDD1A3C-185E-41AE-944C-A0CC7C75D433}"/>
                </a:ext>
              </a:extLst>
            </p:cNvPr>
            <p:cNvSpPr/>
            <p:nvPr/>
          </p:nvSpPr>
          <p:spPr>
            <a:xfrm>
              <a:off x="3822816" y="4262254"/>
              <a:ext cx="5779355" cy="1686627"/>
            </a:xfrm>
            <a:prstGeom prst="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nt</a:t>
              </a:r>
              <a:r>
                <a:rPr lang="fr-FR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 2030</a:t>
              </a:r>
            </a:p>
          </p:txBody>
        </p:sp>
      </p:grpSp>
      <p:sp>
        <p:nvSpPr>
          <p:cNvPr id="57" name="Flèche : courbe vers la droite 56">
            <a:extLst>
              <a:ext uri="{FF2B5EF4-FFF2-40B4-BE49-F238E27FC236}">
                <a16:creationId xmlns:a16="http://schemas.microsoft.com/office/drawing/2014/main" id="{5F213707-08EB-4002-B382-82253BD24427}"/>
              </a:ext>
            </a:extLst>
          </p:cNvPr>
          <p:cNvSpPr/>
          <p:nvPr/>
        </p:nvSpPr>
        <p:spPr>
          <a:xfrm flipH="1">
            <a:off x="6539686" y="1998895"/>
            <a:ext cx="632184" cy="2730130"/>
          </a:xfrm>
          <a:prstGeom prst="curved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93585D64-AE36-4033-AB83-B5F483137432}"/>
              </a:ext>
            </a:extLst>
          </p:cNvPr>
          <p:cNvGrpSpPr/>
          <p:nvPr/>
        </p:nvGrpSpPr>
        <p:grpSpPr>
          <a:xfrm>
            <a:off x="7313245" y="899582"/>
            <a:ext cx="4321825" cy="4625191"/>
            <a:chOff x="8183496" y="1276969"/>
            <a:chExt cx="3783106" cy="424780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5371B8-2E53-44F7-ACF9-57547C18E18A}"/>
                </a:ext>
              </a:extLst>
            </p:cNvPr>
            <p:cNvSpPr/>
            <p:nvPr/>
          </p:nvSpPr>
          <p:spPr>
            <a:xfrm>
              <a:off x="8183496" y="1549217"/>
              <a:ext cx="3783106" cy="39755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  <a:p>
              <a:pPr algn="ctr"/>
              <a:endParaRPr lang="fr-FR" sz="1600" i="1" dirty="0">
                <a:solidFill>
                  <a:schemeClr val="tx1"/>
                </a:solidFill>
              </a:endParaRPr>
            </a:p>
            <a:p>
              <a:pPr algn="ctr"/>
              <a:r>
                <a:rPr lang="fr-FR" sz="1600" i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lang="fr-FR" sz="16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 block </a:t>
              </a:r>
              <a:r>
                <a:rPr lang="fr-FR" sz="1600" i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agram</a:t>
              </a:r>
              <a:r>
                <a:rPr lang="fr-FR" sz="16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erspective: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3E7D74B5-1721-4F09-BCD6-95DEBA3166DF}"/>
                </a:ext>
              </a:extLst>
            </p:cNvPr>
            <p:cNvSpPr/>
            <p:nvPr/>
          </p:nvSpPr>
          <p:spPr>
            <a:xfrm>
              <a:off x="11312727" y="1276969"/>
              <a:ext cx="603742" cy="60374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6" name="Graphique 15" descr="Double geste d’appui">
              <a:extLst>
                <a:ext uri="{FF2B5EF4-FFF2-40B4-BE49-F238E27FC236}">
                  <a16:creationId xmlns:a16="http://schemas.microsoft.com/office/drawing/2014/main" id="{2E7B7C76-B681-4F34-8666-A26B7508C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405659" y="1369901"/>
              <a:ext cx="417879" cy="417879"/>
            </a:xfrm>
            <a:prstGeom prst="rect">
              <a:avLst/>
            </a:prstGeom>
          </p:spPr>
        </p:pic>
        <p:pic>
          <p:nvPicPr>
            <p:cNvPr id="42" name="Espace réservé du contenu 4">
              <a:extLst>
                <a:ext uri="{FF2B5EF4-FFF2-40B4-BE49-F238E27FC236}">
                  <a16:creationId xmlns:a16="http://schemas.microsoft.com/office/drawing/2014/main" id="{1ADD8EE0-62A1-4A4F-AF0A-B06611F1C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205631" y="2708808"/>
              <a:ext cx="3730454" cy="1546970"/>
            </a:xfrm>
            <a:prstGeom prst="rect">
              <a:avLst/>
            </a:prstGeom>
          </p:spPr>
        </p:pic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5CC720C6-D9DC-4517-8E38-6A9E0EB7CE35}"/>
                </a:ext>
              </a:extLst>
            </p:cNvPr>
            <p:cNvSpPr txBox="1"/>
            <p:nvPr/>
          </p:nvSpPr>
          <p:spPr>
            <a:xfrm>
              <a:off x="8630404" y="4629059"/>
              <a:ext cx="308636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 of </a:t>
              </a:r>
              <a:r>
                <a:rPr lang="fr-FR" sz="14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cal</a:t>
              </a:r>
              <a:r>
                <a:rPr lang="fr-FR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struments and</a:t>
              </a:r>
            </a:p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WFS&amp;C </a:t>
              </a:r>
              <a:r>
                <a:rPr lang="fr-FR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 go hand-in-hand</a:t>
              </a:r>
              <a:r>
                <a:rPr lang="fr-FR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fr-FR" sz="1400" i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49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4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of the Optical System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53C0B73D-2DC8-5540-A08C-5AFFBA72A50D}"/>
              </a:ext>
            </a:extLst>
          </p:cNvPr>
          <p:cNvSpPr txBox="1">
            <a:spLocks/>
          </p:cNvSpPr>
          <p:nvPr/>
        </p:nvSpPr>
        <p:spPr>
          <a:xfrm>
            <a:off x="186252" y="5538585"/>
            <a:ext cx="4299971" cy="1247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7AE862BD-FF83-A547-B2C4-0B2C1CA3DB46}"/>
              </a:ext>
            </a:extLst>
          </p:cNvPr>
          <p:cNvGrpSpPr/>
          <p:nvPr/>
        </p:nvGrpSpPr>
        <p:grpSpPr>
          <a:xfrm>
            <a:off x="1523141" y="964942"/>
            <a:ext cx="9166616" cy="4476106"/>
            <a:chOff x="1523141" y="964942"/>
            <a:chExt cx="9166616" cy="4476106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EFCF7B29-03BE-214E-83A5-AA1EF989C8F3}"/>
                </a:ext>
              </a:extLst>
            </p:cNvPr>
            <p:cNvGrpSpPr/>
            <p:nvPr/>
          </p:nvGrpSpPr>
          <p:grpSpPr>
            <a:xfrm>
              <a:off x="1523141" y="964942"/>
              <a:ext cx="9166616" cy="4476106"/>
              <a:chOff x="1748224" y="947794"/>
              <a:chExt cx="9166616" cy="4476106"/>
            </a:xfrm>
          </p:grpSpPr>
          <p:grpSp>
            <p:nvGrpSpPr>
              <p:cNvPr id="22" name="Groupe 21">
                <a:extLst>
                  <a:ext uri="{FF2B5EF4-FFF2-40B4-BE49-F238E27FC236}">
                    <a16:creationId xmlns:a16="http://schemas.microsoft.com/office/drawing/2014/main" id="{BF739B89-BFE6-CD48-8B1E-2DD30D73DBA4}"/>
                  </a:ext>
                </a:extLst>
              </p:cNvPr>
              <p:cNvGrpSpPr/>
              <p:nvPr/>
            </p:nvGrpSpPr>
            <p:grpSpPr>
              <a:xfrm>
                <a:off x="1748224" y="947794"/>
                <a:ext cx="9166616" cy="4476106"/>
                <a:chOff x="1523141" y="1005137"/>
                <a:chExt cx="9166616" cy="4476106"/>
              </a:xfrm>
            </p:grpSpPr>
            <p:grpSp>
              <p:nvGrpSpPr>
                <p:cNvPr id="21" name="Groupe 20">
                  <a:extLst>
                    <a:ext uri="{FF2B5EF4-FFF2-40B4-BE49-F238E27FC236}">
                      <a16:creationId xmlns:a16="http://schemas.microsoft.com/office/drawing/2014/main" id="{855EC1DF-29E2-4446-8EBD-A7DF6B37A9C3}"/>
                    </a:ext>
                  </a:extLst>
                </p:cNvPr>
                <p:cNvGrpSpPr/>
                <p:nvPr/>
              </p:nvGrpSpPr>
              <p:grpSpPr>
                <a:xfrm>
                  <a:off x="1523141" y="1005137"/>
                  <a:ext cx="9166616" cy="4476106"/>
                  <a:chOff x="1130935" y="1027904"/>
                  <a:chExt cx="10491674" cy="3580691"/>
                </a:xfrm>
              </p:grpSpPr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76446690-5F0A-8B41-829E-DA2013FDBEFB}"/>
                      </a:ext>
                    </a:extLst>
                  </p:cNvPr>
                  <p:cNvSpPr/>
                  <p:nvPr/>
                </p:nvSpPr>
                <p:spPr>
                  <a:xfrm>
                    <a:off x="1130935" y="1027904"/>
                    <a:ext cx="10491674" cy="3580691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pic>
                <p:nvPicPr>
                  <p:cNvPr id="62" name="Espace réservé du contenu 4">
                    <a:extLst>
                      <a:ext uri="{FF2B5EF4-FFF2-40B4-BE49-F238E27FC236}">
                        <a16:creationId xmlns:a16="http://schemas.microsoft.com/office/drawing/2014/main" id="{2AB7495C-DE83-7D4C-BA36-96975E9B0B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2030441" y="1317736"/>
                    <a:ext cx="8692661" cy="2776939"/>
                  </a:xfrm>
                  <a:prstGeom prst="rect">
                    <a:avLst/>
                  </a:prstGeom>
                </p:spPr>
              </p:pic>
            </p:grpSp>
            <mc:AlternateContent xmlns:mc="http://schemas.openxmlformats.org/markup-compatibility/2006">
              <mc:Choice xmlns:a14="http://schemas.microsoft.com/office/drawing/2010/main" Requires="a14">
                <p:sp>
                  <p:nvSpPr>
                    <p:cNvPr id="50" name="ZoneTexte 49">
                      <a:extLst>
                        <a:ext uri="{FF2B5EF4-FFF2-40B4-BE49-F238E27FC236}">
                          <a16:creationId xmlns:a16="http://schemas.microsoft.com/office/drawing/2014/main" id="{2AB09F49-4D0F-2B47-AF0C-2F4E3BBA25B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22321" y="4869169"/>
                      <a:ext cx="2519102" cy="5955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fr-FR" sz="16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ity</a:t>
                      </a:r>
                      <a:r>
                        <a:rPr lang="fr-FR" sz="16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6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umption</a:t>
                      </a:r>
                      <a:r>
                        <a:rPr lang="fr-FR" sz="16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ctr"/>
                      <a:r>
                        <a:rPr lang="fr-FR" sz="1600" dirty="0">
                          <a:solidFill>
                            <a:srgbClr val="FF0000"/>
                          </a:solidFill>
                        </a:rPr>
                        <a:t> </a:t>
                      </a:r>
                      <a14:m>
                        <m:oMath xmlns:m="http://schemas.openxmlformats.org/officeDocument/2006/math">
                          <m:sSub>
                            <m:sSubPr>
                              <m:ctrlPr>
                                <a:rPr lang="fr-FR" sz="16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𝑬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𝑖𝑚</m:t>
                              </m:r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fr-FR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fr-FR" sz="16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𝑬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𝑖𝑚</m:t>
                              </m:r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</m:sSub>
                          <m:r>
                            <a:rPr lang="fr-FR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fr-FR" sz="16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𝑮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fr-FR" sz="16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𝒖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oMath>
                      </a14:m>
                      <a:endParaRPr lang="fr-FR" sz="1600" i="1" dirty="0">
                        <a:solidFill>
                          <a:srgbClr val="FF0000"/>
                        </a:solidFill>
                      </a:endParaRPr>
                    </a:p>
                  </p:txBody>
                </p:sp>
              </mc:Choice>
              <mc:Fallback>
                <p:sp>
                  <p:nvSpPr>
                    <p:cNvPr id="50" name="ZoneTexte 49">
                      <a:extLst>
                        <a:ext uri="{FF2B5EF4-FFF2-40B4-BE49-F238E27FC236}">
                          <a16:creationId xmlns:a16="http://schemas.microsoft.com/office/drawing/2014/main" id="{2AB09F49-4D0F-2B47-AF0C-2F4E3BBA25B3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7522321" y="4869169"/>
                      <a:ext cx="2519102" cy="595548"/>
                    </a:xfrm>
                    <a:prstGeom prst="rect">
                      <a:avLst/>
                    </a:prstGeom>
                    <a:blipFill>
                      <a:blip r:embed="rId7"/>
                      <a:stretch>
                        <a:fillRect t="-2083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fr-FR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63" name="ZoneTexte 62">
                <a:extLst>
                  <a:ext uri="{FF2B5EF4-FFF2-40B4-BE49-F238E27FC236}">
                    <a16:creationId xmlns:a16="http://schemas.microsoft.com/office/drawing/2014/main" id="{79521808-E575-334E-BDD3-075DEDC3520F}"/>
                  </a:ext>
                </a:extLst>
              </p:cNvPr>
              <p:cNvSpPr txBox="1"/>
              <p:nvPr/>
            </p:nvSpPr>
            <p:spPr>
              <a:xfrm>
                <a:off x="2561320" y="4810295"/>
                <a:ext cx="235433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eformable</a:t>
                </a:r>
                <a:r>
                  <a:rPr lang="fr-F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6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irrors</a:t>
                </a:r>
                <a:r>
                  <a:rPr lang="fr-FR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have a </a:t>
                </a:r>
                <a:r>
                  <a:rPr lang="fr-FR" sz="1600" i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small</a:t>
                </a:r>
                <a:r>
                  <a:rPr lang="fr-FR" sz="16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 actuation</a:t>
                </a:r>
                <a:endParaRPr lang="fr-FR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4" name="ZoneTexte 63">
              <a:extLst>
                <a:ext uri="{FF2B5EF4-FFF2-40B4-BE49-F238E27FC236}">
                  <a16:creationId xmlns:a16="http://schemas.microsoft.com/office/drawing/2014/main" id="{6CCAF8AD-3C48-BA4A-8FA9-2AF12D2C1ED7}"/>
                </a:ext>
              </a:extLst>
            </p:cNvPr>
            <p:cNvSpPr txBox="1"/>
            <p:nvPr/>
          </p:nvSpPr>
          <p:spPr>
            <a:xfrm>
              <a:off x="5012924" y="4828974"/>
              <a:ext cx="21870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Coronagraph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 has a </a:t>
              </a:r>
              <a:r>
                <a:rPr lang="fr-FR" sz="16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linear</a:t>
              </a:r>
              <a:r>
                <a:rPr lang="fr-FR" sz="1600" i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nfluence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à coins arrondis 24">
                <a:extLst>
                  <a:ext uri="{FF2B5EF4-FFF2-40B4-BE49-F238E27FC236}">
                    <a16:creationId xmlns:a16="http://schemas.microsoft.com/office/drawing/2014/main" id="{0C4C7358-2D6D-6042-B7CA-82EE420D1789}"/>
                  </a:ext>
                </a:extLst>
              </p:cNvPr>
              <p:cNvSpPr/>
              <p:nvPr/>
            </p:nvSpPr>
            <p:spPr>
              <a:xfrm>
                <a:off x="2259866" y="5678795"/>
                <a:ext cx="2517447" cy="100105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ise </a:t>
                </a:r>
                <a:r>
                  <a:rPr lang="fr-FR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 the phase</a:t>
                </a:r>
                <a:r>
                  <a:rPr lang="fr-FR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 the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lectric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eld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FR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n</m:t>
                    </m:r>
                    <m:d>
                      <m:dPr>
                        <m:ctrlPr>
                          <a:rPr lang="fr-FR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fr-FR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t</m:t>
                        </m:r>
                      </m:e>
                    </m:d>
                    <m:r>
                      <a:rPr lang="fr-FR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p>
                      <m:sSupPr>
                        <m:ctrlPr>
                          <a:rPr lang="fr-FR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fr-FR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𝑒</m:t>
                        </m:r>
                      </m:e>
                      <m:sup>
                        <m:r>
                          <a:rPr lang="fr-FR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fr-FR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𝜙</m:t>
                        </m:r>
                        <m:d>
                          <m:dPr>
                            <m:ctrlP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dPr>
                          <m:e>
                            <m:r>
                              <a:rPr lang="fr-FR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𝑡</m:t>
                            </m:r>
                          </m:e>
                        </m:d>
                      </m:sup>
                    </m:sSup>
                  </m:oMath>
                </a14:m>
                <a:endParaRPr lang="fr-FR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5" name="Rectangle à coins arrondis 24">
                <a:extLst>
                  <a:ext uri="{FF2B5EF4-FFF2-40B4-BE49-F238E27FC236}">
                    <a16:creationId xmlns:a16="http://schemas.microsoft.com/office/drawing/2014/main" id="{0C4C7358-2D6D-6042-B7CA-82EE420D178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9866" y="5678795"/>
                <a:ext cx="2517447" cy="1001057"/>
              </a:xfrm>
              <a:prstGeom prst="roundRect">
                <a:avLst/>
              </a:prstGeom>
              <a:blipFill>
                <a:blip r:embed="rId8"/>
                <a:stretch>
                  <a:fillRect b="-123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tangle à coins arrondis 64">
                <a:extLst>
                  <a:ext uri="{FF2B5EF4-FFF2-40B4-BE49-F238E27FC236}">
                    <a16:creationId xmlns:a16="http://schemas.microsoft.com/office/drawing/2014/main" id="{A1030741-ACBF-2A43-B160-45DFC9EDD6C6}"/>
                  </a:ext>
                </a:extLst>
              </p:cNvPr>
              <p:cNvSpPr/>
              <p:nvPr/>
            </p:nvSpPr>
            <p:spPr>
              <a:xfrm>
                <a:off x="7546413" y="5678794"/>
                <a:ext cx="2517447" cy="1001057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have </a:t>
                </a: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𝑰</m:t>
                    </m:r>
                  </m:oMath>
                </a14:m>
                <a:r>
                  <a:rPr lang="fr-FR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nd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ed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o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stimate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𝑬</m:t>
                    </m:r>
                  </m:oMath>
                </a14:m>
                <a:r>
                  <a:rPr lang="fr-FR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 correct </a:t>
                </a:r>
                <a:r>
                  <a:rPr lang="fr-FR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ts</a:t>
                </a:r>
                <a:r>
                  <a: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hase</a:t>
                </a:r>
                <a:endParaRPr lang="fr-FR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65" name="Rectangle à coins arrondis 64">
                <a:extLst>
                  <a:ext uri="{FF2B5EF4-FFF2-40B4-BE49-F238E27FC236}">
                    <a16:creationId xmlns:a16="http://schemas.microsoft.com/office/drawing/2014/main" id="{A1030741-ACBF-2A43-B160-45DFC9EDD6C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6413" y="5678794"/>
                <a:ext cx="2517447" cy="1001057"/>
              </a:xfrm>
              <a:prstGeom prst="roundRect">
                <a:avLst/>
              </a:prstGeom>
              <a:blipFill>
                <a:blip r:embed="rId9"/>
                <a:stretch>
                  <a:fillRect b="-370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80335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6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Important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4810A54E-A91C-4E5E-8F60-4322652E3310}"/>
              </a:ext>
            </a:extLst>
          </p:cNvPr>
          <p:cNvGrpSpPr/>
          <p:nvPr/>
        </p:nvGrpSpPr>
        <p:grpSpPr>
          <a:xfrm>
            <a:off x="983622" y="2616676"/>
            <a:ext cx="10224757" cy="2779288"/>
            <a:chOff x="779941" y="2308328"/>
            <a:chExt cx="10224757" cy="2779288"/>
          </a:xfrm>
        </p:grpSpPr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EF05671A-B951-42F7-BD18-0A4F6F7B29B9}"/>
                </a:ext>
              </a:extLst>
            </p:cNvPr>
            <p:cNvGrpSpPr/>
            <p:nvPr/>
          </p:nvGrpSpPr>
          <p:grpSpPr>
            <a:xfrm>
              <a:off x="779941" y="2308328"/>
              <a:ext cx="10224757" cy="987768"/>
              <a:chOff x="779941" y="2308328"/>
              <a:chExt cx="10224757" cy="987768"/>
            </a:xfrm>
          </p:grpSpPr>
          <p:grpSp>
            <p:nvGrpSpPr>
              <p:cNvPr id="18" name="Groupe 17">
                <a:extLst>
                  <a:ext uri="{FF2B5EF4-FFF2-40B4-BE49-F238E27FC236}">
                    <a16:creationId xmlns:a16="http://schemas.microsoft.com/office/drawing/2014/main" id="{4F0E6717-3D8A-42F5-ACC7-6D5F8C388260}"/>
                  </a:ext>
                </a:extLst>
              </p:cNvPr>
              <p:cNvGrpSpPr/>
              <p:nvPr/>
            </p:nvGrpSpPr>
            <p:grpSpPr>
              <a:xfrm>
                <a:off x="779941" y="2308328"/>
                <a:ext cx="10224757" cy="987768"/>
                <a:chOff x="779941" y="1670372"/>
                <a:chExt cx="10224757" cy="987768"/>
              </a:xfrm>
            </p:grpSpPr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BD8D9EC1-E705-49DF-90C6-69BDDAB4FCF2}"/>
                    </a:ext>
                  </a:extLst>
                </p:cNvPr>
                <p:cNvSpPr/>
                <p:nvPr/>
              </p:nvSpPr>
              <p:spPr>
                <a:xfrm>
                  <a:off x="1271796" y="1670372"/>
                  <a:ext cx="9732902" cy="987768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2" rtlCol="0" anchor="ctr"/>
                <a:lstStyle/>
                <a:p>
                  <a:pPr lvl="2"/>
                  <a:r>
                    <a:rPr lang="fr-FR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he observation time</a:t>
                  </a:r>
                </a:p>
                <a:p>
                  <a:pPr marL="1200150" lvl="2" indent="-285750">
                    <a:buFont typeface="Arial" panose="020B0604020202020204" pitchFamily="34" charset="0"/>
                    <a:buChar char="•"/>
                  </a:pPr>
                  <a:r>
                    <a:rPr lang="fr-FR" sz="17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mputation time                                                       </a:t>
                  </a:r>
                </a:p>
                <a:p>
                  <a:pPr marL="1200150" lvl="2" indent="-285750">
                    <a:buFont typeface="Arial" panose="020B0604020202020204" pitchFamily="34" charset="0"/>
                    <a:buChar char="•"/>
                  </a:pPr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1200150" lvl="2" indent="-285750">
                    <a:buFont typeface="Arial" panose="020B0604020202020204" pitchFamily="34" charset="0"/>
                    <a:buChar char="•"/>
                  </a:pPr>
                  <a:endParaRPr lang="fr-FR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1200150" lvl="2" indent="-285750">
                    <a:buFont typeface="Arial" panose="020B0604020202020204" pitchFamily="34" charset="0"/>
                    <a:buChar char="•"/>
                  </a:pPr>
                  <a:r>
                    <a:rPr lang="fr-FR" sz="17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ost</a:t>
                  </a:r>
                  <a:r>
                    <a:rPr lang="fr-FR" sz="17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ime on the </a:t>
                  </a:r>
                  <a:r>
                    <a:rPr lang="fr-FR" sz="17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elescope</a:t>
                  </a:r>
                  <a:endPara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Ellipse 50">
                  <a:extLst>
                    <a:ext uri="{FF2B5EF4-FFF2-40B4-BE49-F238E27FC236}">
                      <a16:creationId xmlns:a16="http://schemas.microsoft.com/office/drawing/2014/main" id="{DDD26BAF-CCA7-4FFF-B2C1-BDB3FFC88EFF}"/>
                    </a:ext>
                  </a:extLst>
                </p:cNvPr>
                <p:cNvSpPr/>
                <p:nvPr/>
              </p:nvSpPr>
              <p:spPr>
                <a:xfrm>
                  <a:off x="779941" y="1670372"/>
                  <a:ext cx="983710" cy="987768"/>
                </a:xfrm>
                <a:prstGeom prst="ellipse">
                  <a:avLst/>
                </a:prstGeom>
                <a:solidFill>
                  <a:schemeClr val="bg1"/>
                </a:solidFill>
                <a:ln w="76200"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pic>
            <p:nvPicPr>
              <p:cNvPr id="20" name="Graphique 19" descr="Loupe">
                <a:extLst>
                  <a:ext uri="{FF2B5EF4-FFF2-40B4-BE49-F238E27FC236}">
                    <a16:creationId xmlns:a16="http://schemas.microsoft.com/office/drawing/2014/main" id="{47378835-8D4A-42BD-ADE1-C1297B43A9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6743" y="2507159"/>
                <a:ext cx="590105" cy="590105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B831C6D9-3B8A-4DA6-B319-54D56AD1DE23}"/>
                </a:ext>
              </a:extLst>
            </p:cNvPr>
            <p:cNvGrpSpPr/>
            <p:nvPr/>
          </p:nvGrpSpPr>
          <p:grpSpPr>
            <a:xfrm>
              <a:off x="779941" y="4099848"/>
              <a:ext cx="10224757" cy="987768"/>
              <a:chOff x="779941" y="4099848"/>
              <a:chExt cx="10224757" cy="987768"/>
            </a:xfrm>
          </p:grpSpPr>
          <p:grpSp>
            <p:nvGrpSpPr>
              <p:cNvPr id="59" name="Groupe 58">
                <a:extLst>
                  <a:ext uri="{FF2B5EF4-FFF2-40B4-BE49-F238E27FC236}">
                    <a16:creationId xmlns:a16="http://schemas.microsoft.com/office/drawing/2014/main" id="{0405ABAB-D31E-45FD-85FF-165F675C3A74}"/>
                  </a:ext>
                </a:extLst>
              </p:cNvPr>
              <p:cNvGrpSpPr/>
              <p:nvPr/>
            </p:nvGrpSpPr>
            <p:grpSpPr>
              <a:xfrm>
                <a:off x="779941" y="4099848"/>
                <a:ext cx="10224757" cy="987768"/>
                <a:chOff x="779941" y="1670372"/>
                <a:chExt cx="10224757" cy="987768"/>
              </a:xfrm>
            </p:grpSpPr>
            <mc:AlternateContent xmlns:mc="http://schemas.openxmlformats.org/markup-compatibility/2006">
              <mc:Choice xmlns:a14="http://schemas.microsoft.com/office/drawing/2010/main" Requires="a14">
                <p:sp>
                  <p:nvSpPr>
                    <p:cNvPr id="60" name="Rectangle 59">
                      <a:extLst>
                        <a:ext uri="{FF2B5EF4-FFF2-40B4-BE49-F238E27FC236}">
                          <a16:creationId xmlns:a16="http://schemas.microsoft.com/office/drawing/2014/main" id="{099F80C8-3FF3-4B6E-AFC8-329AC53327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71796" y="1670372"/>
                      <a:ext cx="9732902" cy="987768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lvl="2"/>
                      <a:r>
                        <a:rPr lang="fr-FR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fr-FR" sz="20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st</a:t>
                      </a:r>
                      <a:endParaRPr lang="fr-FR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2"/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ven by the relation  </a:t>
                      </a:r>
                      <a14:m>
                        <m:oMath xmlns:m="http://schemas.openxmlformats.org/officeDocument/2006/math">
                          <m:f>
                            <m:fPr>
                              <m:ctrlPr>
                                <a:rPr lang="fr-FR" sz="17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𝑛𝑡𝑒𝑛𝑠𝑖𝑡𝑦</m:t>
                              </m:r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𝑚𝑎𝑔𝑒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𝑤𝑖𝑡h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𝑛𝑡𝑒𝑛𝑠𝑖𝑡𝑦</m:t>
                              </m:r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𝑚𝑎𝑔𝑒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𝑤𝑖𝑡𝑜𝑢𝑡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fr-FR" sz="17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fr-FR" sz="17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den>
                          </m:f>
                          <m:r>
                            <a:rPr lang="fr-FR" sz="17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oMath>
                      </a14:m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How </a:t>
                      </a:r>
                      <a:r>
                        <a:rPr lang="fr-FR" sz="17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int</a:t>
                      </a:r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a signal </a:t>
                      </a:r>
                      <a:r>
                        <a:rPr lang="fr-FR" sz="17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</a:t>
                      </a:r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7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</a:t>
                      </a:r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7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ect</a:t>
                      </a:r>
                      <a:r>
                        <a:rPr lang="fr-FR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fr-FR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mc:Choice>
              <mc:Fallback>
                <p:sp>
                  <p:nvSpPr>
                    <p:cNvPr id="60" name="Rectangle 59">
                      <a:extLst>
                        <a:ext uri="{FF2B5EF4-FFF2-40B4-BE49-F238E27FC236}">
                          <a16:creationId xmlns:a16="http://schemas.microsoft.com/office/drawing/2014/main" id="{099F80C8-3FF3-4B6E-AFC8-329AC5332725}"/>
                        </a:ext>
                      </a:extLst>
                    </p:cNvPr>
                    <p:cNvSpPr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271796" y="1670372"/>
                      <a:ext cx="9732902" cy="987768"/>
                    </a:xfrm>
                    <a:prstGeom prst="rect">
                      <a:avLst/>
                    </a:prstGeom>
                    <a:blipFill>
                      <a:blip r:embed="rId8"/>
                      <a:stretch>
                        <a:fillRect/>
                      </a:stretch>
                    </a:blipFill>
                    <a:ln>
                      <a:noFill/>
                    </a:ln>
                  </p:spPr>
                  <p:txBody>
                    <a:bodyPr/>
                    <a:lstStyle/>
                    <a:p>
                      <a:r>
                        <a:rPr lang="fr-FR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61" name="Ellipse 60">
                  <a:extLst>
                    <a:ext uri="{FF2B5EF4-FFF2-40B4-BE49-F238E27FC236}">
                      <a16:creationId xmlns:a16="http://schemas.microsoft.com/office/drawing/2014/main" id="{B798682F-DE3E-49ED-B56E-4A98219A5293}"/>
                    </a:ext>
                  </a:extLst>
                </p:cNvPr>
                <p:cNvSpPr/>
                <p:nvPr/>
              </p:nvSpPr>
              <p:spPr>
                <a:xfrm>
                  <a:off x="779941" y="1670372"/>
                  <a:ext cx="983710" cy="987768"/>
                </a:xfrm>
                <a:prstGeom prst="ellipse">
                  <a:avLst/>
                </a:prstGeom>
                <a:solidFill>
                  <a:schemeClr val="bg1"/>
                </a:solidFill>
                <a:ln w="76200">
                  <a:solidFill>
                    <a:schemeClr val="accent4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pic>
            <p:nvPicPr>
              <p:cNvPr id="23" name="Graphique 22" descr="Crayon">
                <a:extLst>
                  <a:ext uri="{FF2B5EF4-FFF2-40B4-BE49-F238E27FC236}">
                    <a16:creationId xmlns:a16="http://schemas.microsoft.com/office/drawing/2014/main" id="{DC143673-4B51-4A35-98C5-C5D57B69CC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76743" y="4298679"/>
                <a:ext cx="590105" cy="590105"/>
              </a:xfrm>
              <a:prstGeom prst="rect">
                <a:avLst/>
              </a:prstGeom>
            </p:spPr>
          </p:pic>
        </p:grp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2FCE3D0E-9184-4ECF-95F2-69EAA6124735}"/>
              </a:ext>
            </a:extLst>
          </p:cNvPr>
          <p:cNvGrpSpPr/>
          <p:nvPr/>
        </p:nvGrpSpPr>
        <p:grpSpPr>
          <a:xfrm>
            <a:off x="3176" y="1208931"/>
            <a:ext cx="12188824" cy="622403"/>
            <a:chOff x="3176" y="1400322"/>
            <a:chExt cx="12188824" cy="62240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E6CFCD2-CECD-4DBA-BCA5-403374BD4F6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7" name="Espace réservé du contenu 2">
              <a:extLst>
                <a:ext uri="{FF2B5EF4-FFF2-40B4-BE49-F238E27FC236}">
                  <a16:creationId xmlns:a16="http://schemas.microsoft.com/office/drawing/2014/main" id="{CED65DC5-C7E9-485C-BBE6-0309999129F4}"/>
                </a:ext>
              </a:extLst>
            </p:cNvPr>
            <p:cNvSpPr txBox="1">
              <a:spLocks/>
            </p:cNvSpPr>
            <p:nvPr/>
          </p:nvSpPr>
          <p:spPr>
            <a:xfrm>
              <a:off x="276813" y="1400322"/>
              <a:ext cx="11436356" cy="62240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lly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the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o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in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rics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8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</a:t>
              </a:r>
              <a:r>
                <a:rPr lang="fr-FR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use are:</a:t>
              </a:r>
              <a:endParaRPr lang="fr-FR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EA4CDD2-2CD5-D64E-9196-D18285F7B950}"/>
              </a:ext>
            </a:extLst>
          </p:cNvPr>
          <p:cNvSpPr/>
          <p:nvPr/>
        </p:nvSpPr>
        <p:spPr>
          <a:xfrm>
            <a:off x="879272" y="6021409"/>
            <a:ext cx="10433455" cy="45367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fr-FR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</a:t>
            </a:r>
            <a:r>
              <a:rPr lang="fr-F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possible</a:t>
            </a:r>
          </a:p>
        </p:txBody>
      </p:sp>
      <p:pic>
        <p:nvPicPr>
          <p:cNvPr id="27" name="Graphique 26" descr="Commentaire important">
            <a:extLst>
              <a:ext uri="{FF2B5EF4-FFF2-40B4-BE49-F238E27FC236}">
                <a16:creationId xmlns:a16="http://schemas.microsoft.com/office/drawing/2014/main" id="{26B12CE2-9C69-474D-9122-4901DD82F5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9272" y="6108495"/>
            <a:ext cx="361699" cy="361699"/>
          </a:xfrm>
          <a:prstGeom prst="rect">
            <a:avLst/>
          </a:prstGeom>
        </p:spPr>
      </p:pic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3A5D7A24-3FAB-CD41-82E7-D160B9FD4639}"/>
              </a:ext>
            </a:extLst>
          </p:cNvPr>
          <p:cNvCxnSpPr>
            <a:cxnSpLocks/>
          </p:cNvCxnSpPr>
          <p:nvPr/>
        </p:nvCxnSpPr>
        <p:spPr>
          <a:xfrm>
            <a:off x="6850965" y="5050302"/>
            <a:ext cx="450166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6696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753DCB0-EBCC-41A1-930A-52C3B580FF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0"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753DCB0-EBCC-41A1-930A-52C3B580F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2AD2697-4278-44AD-B1ED-E816A8764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76" name="Picture 4" descr="Finding Earth-like exoplanets requires new space telescopes">
            <a:extLst>
              <a:ext uri="{FF2B5EF4-FFF2-40B4-BE49-F238E27FC236}">
                <a16:creationId xmlns:a16="http://schemas.microsoft.com/office/drawing/2014/main" id="{3B8F131C-FA5A-4B59-87DB-C28AD6063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" y="-2897"/>
            <a:ext cx="12188823" cy="686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BB4134C-9DE4-5140-AB70-CA2B702F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13" y="245280"/>
            <a:ext cx="11659272" cy="652672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fr-FR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4427DFA1-EEF2-4EBE-9789-91AB1EB2F54E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CD7A05A-D555-4047-9A91-B45D615A089C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87CF4A4-5EA9-43A9-9856-89930F69021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D20AFFBA-B078-422F-8E72-7C9D5069C0B7}"/>
              </a:ext>
            </a:extLst>
          </p:cNvPr>
          <p:cNvGrpSpPr/>
          <p:nvPr/>
        </p:nvGrpSpPr>
        <p:grpSpPr>
          <a:xfrm rot="10800000">
            <a:off x="11691905" y="584151"/>
            <a:ext cx="404037" cy="443754"/>
            <a:chOff x="5358809" y="1148315"/>
            <a:chExt cx="616688" cy="6773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CABD5A0-E905-4925-B20F-689E815096D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411B4CB-1814-45C5-BC11-5E49A202EC95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08E39DF3-687A-41C8-A0B1-9206CC48BBE9}"/>
              </a:ext>
            </a:extLst>
          </p:cNvPr>
          <p:cNvGrpSpPr/>
          <p:nvPr/>
        </p:nvGrpSpPr>
        <p:grpSpPr>
          <a:xfrm>
            <a:off x="1362032" y="1634285"/>
            <a:ext cx="10514535" cy="442797"/>
            <a:chOff x="596489" y="1855684"/>
            <a:chExt cx="11272384" cy="442797"/>
          </a:xfrm>
        </p:grpSpPr>
        <p:sp>
          <p:nvSpPr>
            <p:cNvPr id="20" name="Espace réservé du texte 2">
              <a:extLst>
                <a:ext uri="{FF2B5EF4-FFF2-40B4-BE49-F238E27FC236}">
                  <a16:creationId xmlns:a16="http://schemas.microsoft.com/office/drawing/2014/main" id="{6FD93523-D9D1-49F6-95C5-C069A3292416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>
                  <a:srgbClr val="3C3C3B"/>
                </a:buClr>
                <a:defRPr/>
              </a:pPr>
              <a:r>
                <a:rPr lang="fr-FR" sz="24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Arial" panose="020B0604020202020204" pitchFamily="34" charset="0"/>
                </a:rPr>
                <a:t>Contex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Espace réservé du texte 8">
              <a:extLst>
                <a:ext uri="{FF2B5EF4-FFF2-40B4-BE49-F238E27FC236}">
                  <a16:creationId xmlns:a16="http://schemas.microsoft.com/office/drawing/2014/main" id="{051D5604-3503-4744-BC39-03318BA01345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1  | </a:t>
              </a:r>
            </a:p>
          </p:txBody>
        </p:sp>
      </p:grp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8AAB2752-181C-4B7C-B378-90BC3E9FCC6A}"/>
              </a:ext>
            </a:extLst>
          </p:cNvPr>
          <p:cNvGrpSpPr/>
          <p:nvPr/>
        </p:nvGrpSpPr>
        <p:grpSpPr>
          <a:xfrm>
            <a:off x="1362032" y="2618345"/>
            <a:ext cx="10514535" cy="442797"/>
            <a:chOff x="596489" y="1908849"/>
            <a:chExt cx="11272384" cy="442797"/>
          </a:xfrm>
        </p:grpSpPr>
        <p:sp>
          <p:nvSpPr>
            <p:cNvPr id="44" name="Espace réservé du texte 2">
              <a:extLst>
                <a:ext uri="{FF2B5EF4-FFF2-40B4-BE49-F238E27FC236}">
                  <a16:creationId xmlns:a16="http://schemas.microsoft.com/office/drawing/2014/main" id="{FE99FF26-5593-407E-9D8C-6837E46783AA}"/>
                </a:ext>
              </a:extLst>
            </p:cNvPr>
            <p:cNvSpPr txBox="1">
              <a:spLocks/>
            </p:cNvSpPr>
            <p:nvPr/>
          </p:nvSpPr>
          <p:spPr>
            <a:xfrm>
              <a:off x="2130664" y="1908849"/>
              <a:ext cx="9738209" cy="442797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tabLst/>
                <a:defRPr sz="1200" b="1" kern="1200" spc="300">
                  <a:solidFill>
                    <a:srgbClr val="95C11E"/>
                  </a:solidFill>
                  <a:latin typeface="Open sans" panose="020B0606030504020204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24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</a:rPr>
                <a:t>Method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endParaRPr kumimoji="0" lang="fr-FR" sz="1800" b="1" i="0" u="none" strike="noStrike" kern="1200" cap="none" spc="30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Open sans" panose="020B0606030504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Espace réservé du texte 8">
              <a:extLst>
                <a:ext uri="{FF2B5EF4-FFF2-40B4-BE49-F238E27FC236}">
                  <a16:creationId xmlns:a16="http://schemas.microsoft.com/office/drawing/2014/main" id="{77D47355-E53A-4C29-BF77-1426EDFE8602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3C3C3B"/>
                </a:buClr>
              </a:pPr>
              <a:r>
                <a:rPr lang="fr-FR" sz="1800" dirty="0">
                  <a:solidFill>
                    <a:schemeClr val="accent1">
                      <a:lumMod val="75000"/>
                    </a:schemeClr>
                  </a:solidFill>
                  <a:latin typeface="Open sans"/>
                </a:rPr>
                <a:t>2  | </a:t>
              </a:r>
            </a:p>
          </p:txBody>
        </p: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64A69B7A-570B-4543-A4AF-F45D7209E546}"/>
              </a:ext>
            </a:extLst>
          </p:cNvPr>
          <p:cNvGrpSpPr/>
          <p:nvPr/>
        </p:nvGrpSpPr>
        <p:grpSpPr>
          <a:xfrm>
            <a:off x="1362032" y="3496075"/>
            <a:ext cx="10514535" cy="442797"/>
            <a:chOff x="596489" y="1855684"/>
            <a:chExt cx="11272384" cy="442797"/>
          </a:xfrm>
        </p:grpSpPr>
        <p:sp>
          <p:nvSpPr>
            <p:cNvPr id="47" name="Espace réservé du texte 2">
              <a:extLst>
                <a:ext uri="{FF2B5EF4-FFF2-40B4-BE49-F238E27FC236}">
                  <a16:creationId xmlns:a16="http://schemas.microsoft.com/office/drawing/2014/main" id="{E7575B5F-69CD-475A-9BF3-91A11DC21553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55684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Results</a:t>
              </a:r>
            </a:p>
            <a:p>
              <a:endParaRPr lang="fr-FR" dirty="0"/>
            </a:p>
          </p:txBody>
        </p:sp>
        <p:sp>
          <p:nvSpPr>
            <p:cNvPr id="48" name="Espace réservé du texte 8">
              <a:extLst>
                <a:ext uri="{FF2B5EF4-FFF2-40B4-BE49-F238E27FC236}">
                  <a16:creationId xmlns:a16="http://schemas.microsoft.com/office/drawing/2014/main" id="{7C13282E-00C9-4A0C-BF2B-DDCB25F7ED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lang="fr-FR" sz="180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Open sans"/>
                </a:rPr>
                <a:t>3</a:t>
              </a: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  | </a:t>
              </a:r>
            </a:p>
          </p:txBody>
        </p:sp>
      </p:grpSp>
      <p:grpSp>
        <p:nvGrpSpPr>
          <p:cNvPr id="49" name="Groupe 48">
            <a:extLst>
              <a:ext uri="{FF2B5EF4-FFF2-40B4-BE49-F238E27FC236}">
                <a16:creationId xmlns:a16="http://schemas.microsoft.com/office/drawing/2014/main" id="{1DE6E0EE-425C-4AE5-A930-13AF9A0BC1B7}"/>
              </a:ext>
            </a:extLst>
          </p:cNvPr>
          <p:cNvGrpSpPr/>
          <p:nvPr/>
        </p:nvGrpSpPr>
        <p:grpSpPr>
          <a:xfrm>
            <a:off x="1362032" y="4405703"/>
            <a:ext cx="10514535" cy="442797"/>
            <a:chOff x="596489" y="1834418"/>
            <a:chExt cx="11272384" cy="442797"/>
          </a:xfrm>
        </p:grpSpPr>
        <p:sp>
          <p:nvSpPr>
            <p:cNvPr id="50" name="Espace réservé du texte 2">
              <a:extLst>
                <a:ext uri="{FF2B5EF4-FFF2-40B4-BE49-F238E27FC236}">
                  <a16:creationId xmlns:a16="http://schemas.microsoft.com/office/drawing/2014/main" id="{3DE2B167-7210-438D-9B16-1F5ABE733582}"/>
                </a:ext>
              </a:extLst>
            </p:cNvPr>
            <p:cNvSpPr txBox="1">
              <a:spLocks/>
            </p:cNvSpPr>
            <p:nvPr/>
          </p:nvSpPr>
          <p:spPr>
            <a:xfrm>
              <a:off x="2130665" y="1834418"/>
              <a:ext cx="9738208" cy="442797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marR="0" lvl="0" indent="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 kumimoji="0" sz="2400" b="1" i="0" u="none" strike="noStrike" cap="none" spc="300" normalizeH="0" baseline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2438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635000" indent="-173038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808038" indent="-190500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89013" indent="-180975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fr-FR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Conclusion</a:t>
              </a:r>
            </a:p>
            <a:p>
              <a:endParaRPr lang="fr-FR" dirty="0"/>
            </a:p>
          </p:txBody>
        </p:sp>
        <p:sp>
          <p:nvSpPr>
            <p:cNvPr id="51" name="Espace réservé du texte 8">
              <a:extLst>
                <a:ext uri="{FF2B5EF4-FFF2-40B4-BE49-F238E27FC236}">
                  <a16:creationId xmlns:a16="http://schemas.microsoft.com/office/drawing/2014/main" id="{30436E7D-C2AC-4A93-A207-860A33BD92C7}"/>
                </a:ext>
              </a:extLst>
            </p:cNvPr>
            <p:cNvSpPr txBox="1">
              <a:spLocks/>
            </p:cNvSpPr>
            <p:nvPr/>
          </p:nvSpPr>
          <p:spPr>
            <a:xfrm>
              <a:off x="596489" y="1920440"/>
              <a:ext cx="1018860" cy="31881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indent="0" algn="ctr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None/>
                <a:defRPr sz="1200" b="1" kern="1200">
                  <a:solidFill>
                    <a:srgbClr val="95C11E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2438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635000" indent="-173038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8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808038" indent="-1905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89013" indent="-18097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SzPct val="70000"/>
                <a:buFont typeface="Arial" panose="020B0604020202020204" pitchFamily="34" charset="0"/>
                <a:buChar char="–"/>
                <a:defRPr sz="1200" kern="120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C3C3B"/>
                </a:buClr>
                <a:buSzPct val="8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40000"/>
                      <a:lumOff val="60000"/>
                    </a:schemeClr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4  |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2540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Diagramme 2">
                <a:extLst>
                  <a:ext uri="{FF2B5EF4-FFF2-40B4-BE49-F238E27FC236}">
                    <a16:creationId xmlns:a16="http://schemas.microsoft.com/office/drawing/2014/main" id="{FC58A466-3BFF-1B48-B346-3A0D5AC473D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444299674"/>
                  </p:ext>
                </p:extLst>
              </p:nvPr>
            </p:nvGraphicFramePr>
            <p:xfrm>
              <a:off x="4463452" y="1208931"/>
              <a:ext cx="7137175" cy="540621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4" r:lo="rId5" r:qs="rId6" r:cs="rId7"/>
              </a:graphicData>
            </a:graphic>
          </p:graphicFrame>
        </mc:Choice>
        <mc:Fallback xmlns="">
          <p:graphicFrame>
            <p:nvGraphicFramePr>
              <p:cNvPr id="3" name="Diagramme 2">
                <a:extLst>
                  <a:ext uri="{FF2B5EF4-FFF2-40B4-BE49-F238E27FC236}">
                    <a16:creationId xmlns:a16="http://schemas.microsoft.com/office/drawing/2014/main" id="{FC58A466-3BFF-1B48-B346-3A0D5AC473D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444299674"/>
                  </p:ext>
                </p:extLst>
              </p:nvPr>
            </p:nvGraphicFramePr>
            <p:xfrm>
              <a:off x="4463452" y="1208931"/>
              <a:ext cx="7137175" cy="540621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9" r:lo="rId10" r:qs="rId11" r:cs="rId12"/>
              </a:graphicData>
            </a:graphic>
          </p:graphicFrame>
        </mc:Fallback>
      </mc:AlternateContent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FD04C2A8-4891-4686-8627-E5332FAFB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2" name="Diapositive think-cell" r:id="rId13" imgW="416" imgH="416" progId="TCLayout.ActiveDocument.1">
                  <p:embed/>
                </p:oleObj>
              </mc:Choice>
              <mc:Fallback>
                <p:oleObj name="Diapositive think-cell" r:id="rId13" imgW="416" imgH="416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FD04C2A8-4891-4686-8627-E5332FAFB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>
            <a:extLst>
              <a:ext uri="{FF2B5EF4-FFF2-40B4-BE49-F238E27FC236}">
                <a16:creationId xmlns:a16="http://schemas.microsoft.com/office/drawing/2014/main" id="{5A6CBB35-639B-42E0-97C2-7D8D31F43F53}"/>
              </a:ext>
            </a:extLst>
          </p:cNvPr>
          <p:cNvSpPr txBox="1">
            <a:spLocks/>
          </p:cNvSpPr>
          <p:nvPr/>
        </p:nvSpPr>
        <p:spPr>
          <a:xfrm>
            <a:off x="276813" y="277179"/>
            <a:ext cx="11659272" cy="622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b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the Estimation </a:t>
            </a:r>
            <a:r>
              <a:rPr lang="fr-FR" sz="20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</a:t>
            </a:r>
            <a:endParaRPr lang="fr-FR" sz="28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BC814F3-01F6-46E0-AB0C-9371BAC498C9}"/>
              </a:ext>
            </a:extLst>
          </p:cNvPr>
          <p:cNvGrpSpPr/>
          <p:nvPr/>
        </p:nvGrpSpPr>
        <p:grpSpPr>
          <a:xfrm>
            <a:off x="95693" y="85058"/>
            <a:ext cx="404037" cy="443754"/>
            <a:chOff x="5358809" y="1148315"/>
            <a:chExt cx="616688" cy="6773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8213336-0410-4FFB-BBDD-8B44EF1EE805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BA50FA-BB68-48BD-89CB-2CF013643601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9138DEEA-4718-439B-8932-414718B3AC2A}"/>
              </a:ext>
            </a:extLst>
          </p:cNvPr>
          <p:cNvGrpSpPr/>
          <p:nvPr/>
        </p:nvGrpSpPr>
        <p:grpSpPr>
          <a:xfrm rot="10800000">
            <a:off x="11713168" y="584151"/>
            <a:ext cx="404037" cy="443754"/>
            <a:chOff x="5358809" y="1148315"/>
            <a:chExt cx="616688" cy="67730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5C81E9-DD01-463A-91D8-D3DE3AAADB23}"/>
                </a:ext>
              </a:extLst>
            </p:cNvPr>
            <p:cNvSpPr/>
            <p:nvPr/>
          </p:nvSpPr>
          <p:spPr>
            <a:xfrm>
              <a:off x="5358809" y="1148315"/>
              <a:ext cx="276447" cy="67730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55154E-08EF-48DA-A0E5-FB7377B4AE04}"/>
                </a:ext>
              </a:extLst>
            </p:cNvPr>
            <p:cNvSpPr/>
            <p:nvPr/>
          </p:nvSpPr>
          <p:spPr>
            <a:xfrm rot="5400000" flipH="1">
              <a:off x="5613989" y="1031356"/>
              <a:ext cx="244550" cy="47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CED65DC5-C7E9-485C-BBE6-0309999129F4}"/>
              </a:ext>
            </a:extLst>
          </p:cNvPr>
          <p:cNvSpPr txBox="1">
            <a:spLocks/>
          </p:cNvSpPr>
          <p:nvPr/>
        </p:nvSpPr>
        <p:spPr>
          <a:xfrm>
            <a:off x="276813" y="1208931"/>
            <a:ext cx="11436356" cy="622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E3689935-3928-7C4F-9AC6-3C0DF34FD99C}"/>
              </a:ext>
            </a:extLst>
          </p:cNvPr>
          <p:cNvGrpSpPr/>
          <p:nvPr/>
        </p:nvGrpSpPr>
        <p:grpSpPr>
          <a:xfrm>
            <a:off x="731588" y="1831334"/>
            <a:ext cx="2911181" cy="1415508"/>
            <a:chOff x="3176" y="1400322"/>
            <a:chExt cx="12188824" cy="62240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0170A37-35A6-1144-A885-EB519611A804}"/>
                </a:ext>
              </a:extLst>
            </p:cNvPr>
            <p:cNvSpPr/>
            <p:nvPr/>
          </p:nvSpPr>
          <p:spPr>
            <a:xfrm>
              <a:off x="3176" y="1400322"/>
              <a:ext cx="12188824" cy="622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Espace réservé du contenu 2">
                  <a:extLst>
                    <a:ext uri="{FF2B5EF4-FFF2-40B4-BE49-F238E27FC236}">
                      <a16:creationId xmlns:a16="http://schemas.microsoft.com/office/drawing/2014/main" id="{F40F1594-10B6-CE41-89FC-434AFEC4D1E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76813" y="1400322"/>
                  <a:ext cx="11436356" cy="622403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ctr">
                  <a:normAutofit/>
                </a:bodyPr>
                <a:lstStyle>
                  <a:lvl1pPr marL="0" indent="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None/>
                    <a:defRPr sz="16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fr-FR" sz="1800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How to </a:t>
                  </a:r>
                  <a:r>
                    <a:rPr lang="fr-FR" sz="1800" b="1" dirty="0" err="1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stimate</a:t>
                  </a:r>
                  <a:r>
                    <a:rPr lang="fr-FR" sz="1800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the </a:t>
                  </a:r>
                  <a:r>
                    <a:rPr lang="fr-FR" sz="1800" b="1" dirty="0" err="1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lectric</a:t>
                  </a:r>
                  <a:r>
                    <a:rPr lang="fr-FR" sz="1800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1800" b="1" dirty="0" err="1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eld</a:t>
                  </a:r>
                  <a:r>
                    <a:rPr lang="fr-FR" sz="1800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fr-FR" sz="1800" b="1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𝑬</m:t>
                      </m:r>
                      <m:r>
                        <a:rPr lang="fr-FR" sz="18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</m:oMath>
                  </a14:m>
                  <a:r>
                    <a:rPr lang="fr-FR" sz="1800" b="1" dirty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?</a:t>
                  </a:r>
                </a:p>
              </p:txBody>
            </p:sp>
          </mc:Choice>
          <mc:Fallback xmlns="">
            <p:sp>
              <p:nvSpPr>
                <p:cNvPr id="27" name="Espace réservé du contenu 2">
                  <a:extLst>
                    <a:ext uri="{FF2B5EF4-FFF2-40B4-BE49-F238E27FC236}">
                      <a16:creationId xmlns:a16="http://schemas.microsoft.com/office/drawing/2014/main" id="{F40F1594-10B6-CE41-89FC-434AFEC4D1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6813" y="1400322"/>
                  <a:ext cx="11436356" cy="622403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7DB2DEB-8010-C140-9BC6-D27A9B2AE40E}"/>
                  </a:ext>
                </a:extLst>
              </p:cNvPr>
              <p:cNvSpPr/>
              <p:nvPr/>
            </p:nvSpPr>
            <p:spPr>
              <a:xfrm>
                <a:off x="731588" y="4284314"/>
                <a:ext cx="2911181" cy="143814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7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𝑰</m:t>
                      </m:r>
                      <m:r>
                        <a:rPr lang="fr-FR" sz="17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fr-FR" sz="17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fr-FR" sz="17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sz="17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𝑬</m:t>
                              </m:r>
                            </m:e>
                          </m:d>
                        </m:e>
                        <m:sup>
                          <m:r>
                            <a:rPr lang="fr-FR" sz="17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fr-FR" sz="17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</a:t>
                </a:r>
                <a:r>
                  <a:rPr lang="fr-FR" sz="17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tensity</a:t>
                </a:r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7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s</a:t>
                </a:r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e square </a:t>
                </a:r>
                <a:r>
                  <a:rPr lang="fr-FR" sz="17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dulus</a:t>
                </a:r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the </a:t>
                </a:r>
                <a:r>
                  <a:rPr lang="fr-FR" sz="17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lectric</a:t>
                </a:r>
                <a:r>
                  <a:rPr lang="fr-FR" sz="17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7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eld</a:t>
                </a:r>
                <a:endParaRPr lang="fr-FR" sz="17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7DB2DEB-8010-C140-9BC6-D27A9B2AE40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588" y="4284314"/>
                <a:ext cx="2911181" cy="1438141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65318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tJ3RG2U1s1tKbaew4W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JIctzN1A1HcIqyfMWf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NZZH7UAus_DREL1O.Ng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49</TotalTime>
  <Words>1016</Words>
  <Application>Microsoft Macintosh PowerPoint</Application>
  <PresentationFormat>Grand écran</PresentationFormat>
  <Paragraphs>235</Paragraphs>
  <Slides>2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alibri Light</vt:lpstr>
      <vt:lpstr>Cambria Math</vt:lpstr>
      <vt:lpstr>Open sans</vt:lpstr>
      <vt:lpstr>Thème Office</vt:lpstr>
      <vt:lpstr>Diapositive think-cell</vt:lpstr>
      <vt:lpstr>BAYESIAN SYSTEM IDENTIFICATION AND PREDICTIVE ALGORITHMS IN WAVEFRONT SENSING AND CONTROL FOR EXOPLANET IMAGING</vt:lpstr>
      <vt:lpstr>SUMMARY</vt:lpstr>
      <vt:lpstr>SUMMARY</vt:lpstr>
      <vt:lpstr>Présentation PowerPoint</vt:lpstr>
      <vt:lpstr>Présentation PowerPoint</vt:lpstr>
      <vt:lpstr>Présentation PowerPoint</vt:lpstr>
      <vt:lpstr>Présentation PowerPoint</vt:lpstr>
      <vt:lpstr>SUMMARY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UMMARY</vt:lpstr>
      <vt:lpstr>Présentation PowerPoint</vt:lpstr>
      <vt:lpstr>Présentation PowerPoint</vt:lpstr>
      <vt:lpstr>Présentation PowerPoint</vt:lpstr>
      <vt:lpstr>Présentation PowerPoint</vt:lpstr>
      <vt:lpstr>SUMMARY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sian system identification and predictive algorithms in wavefront sensing and control for exoplanet imaging</dc:title>
  <dc:creator>Microsoft Office User</dc:creator>
  <cp:lastModifiedBy>Microsoft Office User</cp:lastModifiedBy>
  <cp:revision>151</cp:revision>
  <dcterms:created xsi:type="dcterms:W3CDTF">2020-09-12T16:31:13Z</dcterms:created>
  <dcterms:modified xsi:type="dcterms:W3CDTF">2020-09-17T14:48:24Z</dcterms:modified>
</cp:coreProperties>
</file>